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639" r:id="rId3"/>
    <p:sldId id="262" r:id="rId4"/>
    <p:sldId id="257" r:id="rId5"/>
    <p:sldId id="258" r:id="rId6"/>
    <p:sldId id="259" r:id="rId7"/>
    <p:sldId id="260" r:id="rId8"/>
    <p:sldId id="261" r:id="rId9"/>
    <p:sldId id="291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713"/>
  </p:normalViewPr>
  <p:slideViewPr>
    <p:cSldViewPr snapToGrid="0">
      <p:cViewPr varScale="1">
        <p:scale>
          <a:sx n="76" d="100"/>
          <a:sy n="76" d="100"/>
        </p:scale>
        <p:origin x="216" y="4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C0DD31-43C9-4935-9F2C-177634BC4344}" type="doc">
      <dgm:prSet loTypeId="urn:microsoft.com/office/officeart/2005/8/layout/hierarchy1" loCatId="hierarchy" qsTypeId="urn:microsoft.com/office/officeart/2005/8/quickstyle/simple1" qsCatId="simple" csTypeId="urn:microsoft.com/office/officeart/2005/8/colors/accent0_3" csCatId="mainScheme"/>
      <dgm:spPr/>
      <dgm:t>
        <a:bodyPr/>
        <a:lstStyle/>
        <a:p>
          <a:endParaRPr lang="en-US"/>
        </a:p>
      </dgm:t>
    </dgm:pt>
    <dgm:pt modelId="{D8E31B8D-E569-4D4C-9634-8B027182B602}">
      <dgm:prSet/>
      <dgm:spPr/>
      <dgm:t>
        <a:bodyPr/>
        <a:lstStyle/>
        <a:p>
          <a:r>
            <a:rPr lang="en-US"/>
            <a:t>Partnership between health, education and local authorities for managing CYP with asthma aged 5-18</a:t>
          </a:r>
        </a:p>
      </dgm:t>
    </dgm:pt>
    <dgm:pt modelId="{B2CA236E-6F1A-42DE-864C-3FDCE5218ED8}" type="parTrans" cxnId="{47B00C9F-A30C-47AC-9305-A2C52087C989}">
      <dgm:prSet/>
      <dgm:spPr/>
      <dgm:t>
        <a:bodyPr/>
        <a:lstStyle/>
        <a:p>
          <a:endParaRPr lang="en-US"/>
        </a:p>
      </dgm:t>
    </dgm:pt>
    <dgm:pt modelId="{332BA9C5-91F6-456E-A955-35FF44BB1D51}" type="sibTrans" cxnId="{47B00C9F-A30C-47AC-9305-A2C52087C989}">
      <dgm:prSet/>
      <dgm:spPr/>
      <dgm:t>
        <a:bodyPr/>
        <a:lstStyle/>
        <a:p>
          <a:endParaRPr lang="en-US"/>
        </a:p>
      </dgm:t>
    </dgm:pt>
    <dgm:pt modelId="{6202CC74-004D-4E32-BC63-625CEBCA4391}">
      <dgm:prSet/>
      <dgm:spPr/>
      <dgm:t>
        <a:bodyPr/>
        <a:lstStyle/>
        <a:p>
          <a:r>
            <a:rPr lang="en-US"/>
            <a:t>Adoption of government policy on emergency inhalers and early years settings (education, individual healthcare plans)</a:t>
          </a:r>
        </a:p>
      </dgm:t>
    </dgm:pt>
    <dgm:pt modelId="{82D94DA4-08E7-48AC-A81D-4E77A43E028E}" type="parTrans" cxnId="{8ABD76FD-BD5B-41A8-8995-0A1D28F65888}">
      <dgm:prSet/>
      <dgm:spPr/>
      <dgm:t>
        <a:bodyPr/>
        <a:lstStyle/>
        <a:p>
          <a:endParaRPr lang="en-US"/>
        </a:p>
      </dgm:t>
    </dgm:pt>
    <dgm:pt modelId="{1156F557-1888-4773-8142-F87953476BA3}" type="sibTrans" cxnId="{8ABD76FD-BD5B-41A8-8995-0A1D28F65888}">
      <dgm:prSet/>
      <dgm:spPr/>
      <dgm:t>
        <a:bodyPr/>
        <a:lstStyle/>
        <a:p>
          <a:endParaRPr lang="en-US"/>
        </a:p>
      </dgm:t>
    </dgm:pt>
    <dgm:pt modelId="{27B7DE15-72C2-4148-9C71-F8B470CE758F}" type="pres">
      <dgm:prSet presAssocID="{51C0DD31-43C9-4935-9F2C-177634BC4344}" presName="hierChild1" presStyleCnt="0">
        <dgm:presLayoutVars>
          <dgm:chPref val="1"/>
          <dgm:dir/>
          <dgm:animOne val="branch"/>
          <dgm:animLvl val="lvl"/>
          <dgm:resizeHandles/>
        </dgm:presLayoutVars>
      </dgm:prSet>
      <dgm:spPr/>
    </dgm:pt>
    <dgm:pt modelId="{ECB07F14-68A9-0943-AAB5-B7AC9F5D9B02}" type="pres">
      <dgm:prSet presAssocID="{D8E31B8D-E569-4D4C-9634-8B027182B602}" presName="hierRoot1" presStyleCnt="0"/>
      <dgm:spPr/>
    </dgm:pt>
    <dgm:pt modelId="{B752EE0B-B3B1-4044-842C-A87EEAA50B61}" type="pres">
      <dgm:prSet presAssocID="{D8E31B8D-E569-4D4C-9634-8B027182B602}" presName="composite" presStyleCnt="0"/>
      <dgm:spPr/>
    </dgm:pt>
    <dgm:pt modelId="{C835E063-1A30-BE43-B6BA-0263D1EAABAA}" type="pres">
      <dgm:prSet presAssocID="{D8E31B8D-E569-4D4C-9634-8B027182B602}" presName="background" presStyleLbl="node0" presStyleIdx="0" presStyleCnt="2"/>
      <dgm:spPr/>
    </dgm:pt>
    <dgm:pt modelId="{01A06F6D-84DE-204C-B7A1-7D057904EC2C}" type="pres">
      <dgm:prSet presAssocID="{D8E31B8D-E569-4D4C-9634-8B027182B602}" presName="text" presStyleLbl="fgAcc0" presStyleIdx="0" presStyleCnt="2">
        <dgm:presLayoutVars>
          <dgm:chPref val="3"/>
        </dgm:presLayoutVars>
      </dgm:prSet>
      <dgm:spPr/>
    </dgm:pt>
    <dgm:pt modelId="{43099B46-64CF-6F40-B0E6-4EA92449284E}" type="pres">
      <dgm:prSet presAssocID="{D8E31B8D-E569-4D4C-9634-8B027182B602}" presName="hierChild2" presStyleCnt="0"/>
      <dgm:spPr/>
    </dgm:pt>
    <dgm:pt modelId="{306B0A4C-CF48-4249-B0A4-05E4FFB7FECA}" type="pres">
      <dgm:prSet presAssocID="{6202CC74-004D-4E32-BC63-625CEBCA4391}" presName="hierRoot1" presStyleCnt="0"/>
      <dgm:spPr/>
    </dgm:pt>
    <dgm:pt modelId="{E990FC59-56B8-AD4E-83FF-7EB7EC5D6D10}" type="pres">
      <dgm:prSet presAssocID="{6202CC74-004D-4E32-BC63-625CEBCA4391}" presName="composite" presStyleCnt="0"/>
      <dgm:spPr/>
    </dgm:pt>
    <dgm:pt modelId="{9363C8C8-A7E6-E248-BDFD-17ECB199EAD3}" type="pres">
      <dgm:prSet presAssocID="{6202CC74-004D-4E32-BC63-625CEBCA4391}" presName="background" presStyleLbl="node0" presStyleIdx="1" presStyleCnt="2"/>
      <dgm:spPr/>
    </dgm:pt>
    <dgm:pt modelId="{6A177BBE-FF7A-D642-A49B-B313FED8D6AA}" type="pres">
      <dgm:prSet presAssocID="{6202CC74-004D-4E32-BC63-625CEBCA4391}" presName="text" presStyleLbl="fgAcc0" presStyleIdx="1" presStyleCnt="2">
        <dgm:presLayoutVars>
          <dgm:chPref val="3"/>
        </dgm:presLayoutVars>
      </dgm:prSet>
      <dgm:spPr/>
    </dgm:pt>
    <dgm:pt modelId="{A0D598C2-15A1-1D4E-841F-86FF57013BD0}" type="pres">
      <dgm:prSet presAssocID="{6202CC74-004D-4E32-BC63-625CEBCA4391}" presName="hierChild2" presStyleCnt="0"/>
      <dgm:spPr/>
    </dgm:pt>
  </dgm:ptLst>
  <dgm:cxnLst>
    <dgm:cxn modelId="{BEE9562C-50C1-1548-B57C-0CEC4D34E9F1}" type="presOf" srcId="{51C0DD31-43C9-4935-9F2C-177634BC4344}" destId="{27B7DE15-72C2-4148-9C71-F8B470CE758F}" srcOrd="0" destOrd="0" presId="urn:microsoft.com/office/officeart/2005/8/layout/hierarchy1"/>
    <dgm:cxn modelId="{47B00C9F-A30C-47AC-9305-A2C52087C989}" srcId="{51C0DD31-43C9-4935-9F2C-177634BC4344}" destId="{D8E31B8D-E569-4D4C-9634-8B027182B602}" srcOrd="0" destOrd="0" parTransId="{B2CA236E-6F1A-42DE-864C-3FDCE5218ED8}" sibTransId="{332BA9C5-91F6-456E-A955-35FF44BB1D51}"/>
    <dgm:cxn modelId="{6EC1A0BF-6BB7-154D-8B2C-5614C9C03698}" type="presOf" srcId="{D8E31B8D-E569-4D4C-9634-8B027182B602}" destId="{01A06F6D-84DE-204C-B7A1-7D057904EC2C}" srcOrd="0" destOrd="0" presId="urn:microsoft.com/office/officeart/2005/8/layout/hierarchy1"/>
    <dgm:cxn modelId="{7523F7DE-CC57-0043-A56B-5E0F781B47C2}" type="presOf" srcId="{6202CC74-004D-4E32-BC63-625CEBCA4391}" destId="{6A177BBE-FF7A-D642-A49B-B313FED8D6AA}" srcOrd="0" destOrd="0" presId="urn:microsoft.com/office/officeart/2005/8/layout/hierarchy1"/>
    <dgm:cxn modelId="{8ABD76FD-BD5B-41A8-8995-0A1D28F65888}" srcId="{51C0DD31-43C9-4935-9F2C-177634BC4344}" destId="{6202CC74-004D-4E32-BC63-625CEBCA4391}" srcOrd="1" destOrd="0" parTransId="{82D94DA4-08E7-48AC-A81D-4E77A43E028E}" sibTransId="{1156F557-1888-4773-8142-F87953476BA3}"/>
    <dgm:cxn modelId="{336BAD1A-586A-3846-ABBF-B8BA4E5F2A6E}" type="presParOf" srcId="{27B7DE15-72C2-4148-9C71-F8B470CE758F}" destId="{ECB07F14-68A9-0943-AAB5-B7AC9F5D9B02}" srcOrd="0" destOrd="0" presId="urn:microsoft.com/office/officeart/2005/8/layout/hierarchy1"/>
    <dgm:cxn modelId="{EE771EFE-0FED-4343-8143-D479DA5ADAC4}" type="presParOf" srcId="{ECB07F14-68A9-0943-AAB5-B7AC9F5D9B02}" destId="{B752EE0B-B3B1-4044-842C-A87EEAA50B61}" srcOrd="0" destOrd="0" presId="urn:microsoft.com/office/officeart/2005/8/layout/hierarchy1"/>
    <dgm:cxn modelId="{270899B1-1FBD-0946-B723-CEA2949958A9}" type="presParOf" srcId="{B752EE0B-B3B1-4044-842C-A87EEAA50B61}" destId="{C835E063-1A30-BE43-B6BA-0263D1EAABAA}" srcOrd="0" destOrd="0" presId="urn:microsoft.com/office/officeart/2005/8/layout/hierarchy1"/>
    <dgm:cxn modelId="{A5651A64-DA62-9843-AECB-F4A9B6BE1A2B}" type="presParOf" srcId="{B752EE0B-B3B1-4044-842C-A87EEAA50B61}" destId="{01A06F6D-84DE-204C-B7A1-7D057904EC2C}" srcOrd="1" destOrd="0" presId="urn:microsoft.com/office/officeart/2005/8/layout/hierarchy1"/>
    <dgm:cxn modelId="{8571A27D-AABA-E84D-B1DA-BDBB4E015A9F}" type="presParOf" srcId="{ECB07F14-68A9-0943-AAB5-B7AC9F5D9B02}" destId="{43099B46-64CF-6F40-B0E6-4EA92449284E}" srcOrd="1" destOrd="0" presId="urn:microsoft.com/office/officeart/2005/8/layout/hierarchy1"/>
    <dgm:cxn modelId="{8BFF4490-6835-EA4D-AE67-931B8CCC9F40}" type="presParOf" srcId="{27B7DE15-72C2-4148-9C71-F8B470CE758F}" destId="{306B0A4C-CF48-4249-B0A4-05E4FFB7FECA}" srcOrd="1" destOrd="0" presId="urn:microsoft.com/office/officeart/2005/8/layout/hierarchy1"/>
    <dgm:cxn modelId="{FDE952CA-1AAE-2B4E-AD5F-4FE630833611}" type="presParOf" srcId="{306B0A4C-CF48-4249-B0A4-05E4FFB7FECA}" destId="{E990FC59-56B8-AD4E-83FF-7EB7EC5D6D10}" srcOrd="0" destOrd="0" presId="urn:microsoft.com/office/officeart/2005/8/layout/hierarchy1"/>
    <dgm:cxn modelId="{3DC26AB3-EFD2-4E43-AD22-F7E7488C34F1}" type="presParOf" srcId="{E990FC59-56B8-AD4E-83FF-7EB7EC5D6D10}" destId="{9363C8C8-A7E6-E248-BDFD-17ECB199EAD3}" srcOrd="0" destOrd="0" presId="urn:microsoft.com/office/officeart/2005/8/layout/hierarchy1"/>
    <dgm:cxn modelId="{23D0DCA0-645B-EA4B-8947-B81D3F16AE6A}" type="presParOf" srcId="{E990FC59-56B8-AD4E-83FF-7EB7EC5D6D10}" destId="{6A177BBE-FF7A-D642-A49B-B313FED8D6AA}" srcOrd="1" destOrd="0" presId="urn:microsoft.com/office/officeart/2005/8/layout/hierarchy1"/>
    <dgm:cxn modelId="{06156C70-9F1D-F940-A8DF-88C12595B7E1}" type="presParOf" srcId="{306B0A4C-CF48-4249-B0A4-05E4FFB7FECA}" destId="{A0D598C2-15A1-1D4E-841F-86FF57013BD0}"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9110A5A-6400-4FEA-B03F-B00E9894F7E8}"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07F60F3B-ADBD-4738-8D99-DA726ABDEF2A}">
      <dgm:prSet/>
      <dgm:spPr/>
      <dgm:t>
        <a:bodyPr/>
        <a:lstStyle/>
        <a:p>
          <a:r>
            <a:rPr lang="en-US"/>
            <a:t>Register of all students with asthma</a:t>
          </a:r>
        </a:p>
      </dgm:t>
    </dgm:pt>
    <dgm:pt modelId="{5416D0AC-5BBE-4829-950A-7267E02557BA}" type="parTrans" cxnId="{700BBC5E-11BE-4513-B13F-7754F5EB54FC}">
      <dgm:prSet/>
      <dgm:spPr/>
      <dgm:t>
        <a:bodyPr/>
        <a:lstStyle/>
        <a:p>
          <a:endParaRPr lang="en-US"/>
        </a:p>
      </dgm:t>
    </dgm:pt>
    <dgm:pt modelId="{D20167A2-AE1F-4F93-B4C0-D16AE9B13BB8}" type="sibTrans" cxnId="{700BBC5E-11BE-4513-B13F-7754F5EB54FC}">
      <dgm:prSet/>
      <dgm:spPr/>
      <dgm:t>
        <a:bodyPr/>
        <a:lstStyle/>
        <a:p>
          <a:endParaRPr lang="en-US"/>
        </a:p>
      </dgm:t>
    </dgm:pt>
    <dgm:pt modelId="{1817FEA4-C366-46B1-980F-D45A89E991D7}">
      <dgm:prSet/>
      <dgm:spPr/>
      <dgm:t>
        <a:bodyPr/>
        <a:lstStyle/>
        <a:p>
          <a:r>
            <a:rPr lang="en-US"/>
            <a:t>Management plan for each child</a:t>
          </a:r>
        </a:p>
      </dgm:t>
    </dgm:pt>
    <dgm:pt modelId="{13F223E8-40EB-4166-9D1A-D129313B3E95}" type="parTrans" cxnId="{8AE9EBC3-3906-458F-9E40-1D8A63660F72}">
      <dgm:prSet/>
      <dgm:spPr/>
      <dgm:t>
        <a:bodyPr/>
        <a:lstStyle/>
        <a:p>
          <a:endParaRPr lang="en-US"/>
        </a:p>
      </dgm:t>
    </dgm:pt>
    <dgm:pt modelId="{353396E8-1419-4A5D-9C15-9CDFB07B0D60}" type="sibTrans" cxnId="{8AE9EBC3-3906-458F-9E40-1D8A63660F72}">
      <dgm:prSet/>
      <dgm:spPr/>
      <dgm:t>
        <a:bodyPr/>
        <a:lstStyle/>
        <a:p>
          <a:endParaRPr lang="en-US"/>
        </a:p>
      </dgm:t>
    </dgm:pt>
    <dgm:pt modelId="{98DD4545-D1B0-43D0-AB73-DBCA723A9894}">
      <dgm:prSet/>
      <dgm:spPr/>
      <dgm:t>
        <a:bodyPr/>
        <a:lstStyle/>
        <a:p>
          <a:r>
            <a:rPr lang="en-US"/>
            <a:t>Named individual responsible for asthma in each school (Asthma champion)</a:t>
          </a:r>
        </a:p>
      </dgm:t>
    </dgm:pt>
    <dgm:pt modelId="{4102954E-F079-4F76-A4E5-6F9A9D794078}" type="parTrans" cxnId="{E5760CA6-9A85-4DD2-BFC8-951BFCBFCE94}">
      <dgm:prSet/>
      <dgm:spPr/>
      <dgm:t>
        <a:bodyPr/>
        <a:lstStyle/>
        <a:p>
          <a:endParaRPr lang="en-US"/>
        </a:p>
      </dgm:t>
    </dgm:pt>
    <dgm:pt modelId="{DB89B49B-27CA-4FF3-86D8-3978EBF2BFDC}" type="sibTrans" cxnId="{E5760CA6-9A85-4DD2-BFC8-951BFCBFCE94}">
      <dgm:prSet/>
      <dgm:spPr/>
      <dgm:t>
        <a:bodyPr/>
        <a:lstStyle/>
        <a:p>
          <a:endParaRPr lang="en-US"/>
        </a:p>
      </dgm:t>
    </dgm:pt>
    <dgm:pt modelId="{535EB371-87F3-4714-8E6B-F35C1C6D1E43}">
      <dgm:prSet/>
      <dgm:spPr/>
      <dgm:t>
        <a:bodyPr/>
        <a:lstStyle/>
        <a:p>
          <a:r>
            <a:rPr lang="en-US"/>
            <a:t>Policy for inhaler techniques and care of students with asthma</a:t>
          </a:r>
        </a:p>
      </dgm:t>
    </dgm:pt>
    <dgm:pt modelId="{06E59419-F721-48F0-9E05-F1D338DD5BDE}" type="parTrans" cxnId="{172180A7-6808-401E-BBCB-A17B4ECE3830}">
      <dgm:prSet/>
      <dgm:spPr/>
      <dgm:t>
        <a:bodyPr/>
        <a:lstStyle/>
        <a:p>
          <a:endParaRPr lang="en-US"/>
        </a:p>
      </dgm:t>
    </dgm:pt>
    <dgm:pt modelId="{F75E7D0E-F1A9-4A80-8940-25CABE0A775B}" type="sibTrans" cxnId="{172180A7-6808-401E-BBCB-A17B4ECE3830}">
      <dgm:prSet/>
      <dgm:spPr/>
      <dgm:t>
        <a:bodyPr/>
        <a:lstStyle/>
        <a:p>
          <a:endParaRPr lang="en-US"/>
        </a:p>
      </dgm:t>
    </dgm:pt>
    <dgm:pt modelId="{E3915D64-26E4-4898-AD3B-00252DA3F804}">
      <dgm:prSet/>
      <dgm:spPr/>
      <dgm:t>
        <a:bodyPr/>
        <a:lstStyle/>
        <a:p>
          <a:r>
            <a:rPr lang="en-US" dirty="0"/>
            <a:t>Policy regarding asthma and emergency treatment</a:t>
          </a:r>
        </a:p>
      </dgm:t>
    </dgm:pt>
    <dgm:pt modelId="{41E9BB06-A908-4B69-B780-03A7CC68E23F}" type="parTrans" cxnId="{A685175B-199C-4013-AE7F-D6A4001EC0D6}">
      <dgm:prSet/>
      <dgm:spPr/>
      <dgm:t>
        <a:bodyPr/>
        <a:lstStyle/>
        <a:p>
          <a:endParaRPr lang="en-US"/>
        </a:p>
      </dgm:t>
    </dgm:pt>
    <dgm:pt modelId="{5417B171-6732-4EE5-81E9-17A00AEDF173}" type="sibTrans" cxnId="{A685175B-199C-4013-AE7F-D6A4001EC0D6}">
      <dgm:prSet/>
      <dgm:spPr/>
      <dgm:t>
        <a:bodyPr/>
        <a:lstStyle/>
        <a:p>
          <a:endParaRPr lang="en-US"/>
        </a:p>
      </dgm:t>
    </dgm:pt>
    <dgm:pt modelId="{3958A312-8F6A-4B13-9C7F-B7701E25F921}">
      <dgm:prSet/>
      <dgm:spPr/>
      <dgm:t>
        <a:bodyPr/>
        <a:lstStyle/>
        <a:p>
          <a:r>
            <a:rPr lang="en-US" dirty="0"/>
            <a:t>System to identify children missing school because of asthma, or avoiding sports or activities because of asthma</a:t>
          </a:r>
        </a:p>
      </dgm:t>
    </dgm:pt>
    <dgm:pt modelId="{A1E6E98E-B64B-4E1C-A22B-DDC4DCEE35C6}" type="parTrans" cxnId="{51E776BF-C6F5-4403-B34A-C96BBC91BF99}">
      <dgm:prSet/>
      <dgm:spPr/>
      <dgm:t>
        <a:bodyPr/>
        <a:lstStyle/>
        <a:p>
          <a:endParaRPr lang="en-US"/>
        </a:p>
      </dgm:t>
    </dgm:pt>
    <dgm:pt modelId="{A83C13E5-478D-434D-8B45-E09E5EDBD4BE}" type="sibTrans" cxnId="{51E776BF-C6F5-4403-B34A-C96BBC91BF99}">
      <dgm:prSet/>
      <dgm:spPr/>
      <dgm:t>
        <a:bodyPr/>
        <a:lstStyle/>
        <a:p>
          <a:endParaRPr lang="en-US"/>
        </a:p>
      </dgm:t>
    </dgm:pt>
    <dgm:pt modelId="{82B22D68-6BDF-7E4C-93BF-7CB0ECC40273}">
      <dgm:prSet/>
      <dgm:spPr/>
      <dgm:t>
        <a:bodyPr/>
        <a:lstStyle/>
        <a:p>
          <a:r>
            <a:rPr lang="en-US" dirty="0"/>
            <a:t>Asthma training for all school staff - 85% target</a:t>
          </a:r>
        </a:p>
      </dgm:t>
    </dgm:pt>
    <dgm:pt modelId="{F499B16A-0757-584D-93F4-489467BEDC64}" type="parTrans" cxnId="{EADE8621-E8C4-834B-A901-4F991F0CCB13}">
      <dgm:prSet/>
      <dgm:spPr/>
    </dgm:pt>
    <dgm:pt modelId="{C1498A2D-00AB-544C-8F29-6D755B0FF7E8}" type="sibTrans" cxnId="{EADE8621-E8C4-834B-A901-4F991F0CCB13}">
      <dgm:prSet/>
      <dgm:spPr/>
    </dgm:pt>
    <dgm:pt modelId="{6576C14A-AB9C-C94A-BDD5-47411427C20C}" type="pres">
      <dgm:prSet presAssocID="{79110A5A-6400-4FEA-B03F-B00E9894F7E8}" presName="linear" presStyleCnt="0">
        <dgm:presLayoutVars>
          <dgm:animLvl val="lvl"/>
          <dgm:resizeHandles val="exact"/>
        </dgm:presLayoutVars>
      </dgm:prSet>
      <dgm:spPr/>
    </dgm:pt>
    <dgm:pt modelId="{04F9177E-4E66-3B4C-93B1-2276804ACEE7}" type="pres">
      <dgm:prSet presAssocID="{07F60F3B-ADBD-4738-8D99-DA726ABDEF2A}" presName="parentText" presStyleLbl="node1" presStyleIdx="0" presStyleCnt="7">
        <dgm:presLayoutVars>
          <dgm:chMax val="0"/>
          <dgm:bulletEnabled val="1"/>
        </dgm:presLayoutVars>
      </dgm:prSet>
      <dgm:spPr/>
    </dgm:pt>
    <dgm:pt modelId="{C670E140-8E57-5140-A4BE-C2C29F51F0A3}" type="pres">
      <dgm:prSet presAssocID="{D20167A2-AE1F-4F93-B4C0-D16AE9B13BB8}" presName="spacer" presStyleCnt="0"/>
      <dgm:spPr/>
    </dgm:pt>
    <dgm:pt modelId="{78C38D9B-6F58-4F49-B5D5-4850E5574F5B}" type="pres">
      <dgm:prSet presAssocID="{1817FEA4-C366-46B1-980F-D45A89E991D7}" presName="parentText" presStyleLbl="node1" presStyleIdx="1" presStyleCnt="7">
        <dgm:presLayoutVars>
          <dgm:chMax val="0"/>
          <dgm:bulletEnabled val="1"/>
        </dgm:presLayoutVars>
      </dgm:prSet>
      <dgm:spPr/>
    </dgm:pt>
    <dgm:pt modelId="{A121D136-B36A-1543-ACB8-2B8F9BDD98A7}" type="pres">
      <dgm:prSet presAssocID="{353396E8-1419-4A5D-9C15-9CDFB07B0D60}" presName="spacer" presStyleCnt="0"/>
      <dgm:spPr/>
    </dgm:pt>
    <dgm:pt modelId="{4BC48644-57CB-254D-AFB9-FF69E5F957A1}" type="pres">
      <dgm:prSet presAssocID="{98DD4545-D1B0-43D0-AB73-DBCA723A9894}" presName="parentText" presStyleLbl="node1" presStyleIdx="2" presStyleCnt="7">
        <dgm:presLayoutVars>
          <dgm:chMax val="0"/>
          <dgm:bulletEnabled val="1"/>
        </dgm:presLayoutVars>
      </dgm:prSet>
      <dgm:spPr/>
    </dgm:pt>
    <dgm:pt modelId="{858FE5C0-6A6F-214C-8F9C-46A0F1689EC6}" type="pres">
      <dgm:prSet presAssocID="{DB89B49B-27CA-4FF3-86D8-3978EBF2BFDC}" presName="spacer" presStyleCnt="0"/>
      <dgm:spPr/>
    </dgm:pt>
    <dgm:pt modelId="{46254634-E22C-544F-AA98-6CC54D5E39FB}" type="pres">
      <dgm:prSet presAssocID="{535EB371-87F3-4714-8E6B-F35C1C6D1E43}" presName="parentText" presStyleLbl="node1" presStyleIdx="3" presStyleCnt="7">
        <dgm:presLayoutVars>
          <dgm:chMax val="0"/>
          <dgm:bulletEnabled val="1"/>
        </dgm:presLayoutVars>
      </dgm:prSet>
      <dgm:spPr/>
    </dgm:pt>
    <dgm:pt modelId="{8B4952C2-4BDF-4049-A5CA-70500DD46E45}" type="pres">
      <dgm:prSet presAssocID="{F75E7D0E-F1A9-4A80-8940-25CABE0A775B}" presName="spacer" presStyleCnt="0"/>
      <dgm:spPr/>
    </dgm:pt>
    <dgm:pt modelId="{EEEB27AD-3BB5-364C-94DD-A1B8131A13EE}" type="pres">
      <dgm:prSet presAssocID="{E3915D64-26E4-4898-AD3B-00252DA3F804}" presName="parentText" presStyleLbl="node1" presStyleIdx="4" presStyleCnt="7">
        <dgm:presLayoutVars>
          <dgm:chMax val="0"/>
          <dgm:bulletEnabled val="1"/>
        </dgm:presLayoutVars>
      </dgm:prSet>
      <dgm:spPr/>
    </dgm:pt>
    <dgm:pt modelId="{38CE06DB-82CE-8846-8EBA-DCA0D1425254}" type="pres">
      <dgm:prSet presAssocID="{5417B171-6732-4EE5-81E9-17A00AEDF173}" presName="spacer" presStyleCnt="0"/>
      <dgm:spPr/>
    </dgm:pt>
    <dgm:pt modelId="{30F82C7D-27FC-3942-B95E-0CD0B49349CD}" type="pres">
      <dgm:prSet presAssocID="{3958A312-8F6A-4B13-9C7F-B7701E25F921}" presName="parentText" presStyleLbl="node1" presStyleIdx="5" presStyleCnt="7">
        <dgm:presLayoutVars>
          <dgm:chMax val="0"/>
          <dgm:bulletEnabled val="1"/>
        </dgm:presLayoutVars>
      </dgm:prSet>
      <dgm:spPr/>
    </dgm:pt>
    <dgm:pt modelId="{C50F4B42-1BAB-8246-96C4-934CD29AF0D4}" type="pres">
      <dgm:prSet presAssocID="{A83C13E5-478D-434D-8B45-E09E5EDBD4BE}" presName="spacer" presStyleCnt="0"/>
      <dgm:spPr/>
    </dgm:pt>
    <dgm:pt modelId="{52632660-31F2-EA42-85AE-F9E536C34372}" type="pres">
      <dgm:prSet presAssocID="{82B22D68-6BDF-7E4C-93BF-7CB0ECC40273}" presName="parentText" presStyleLbl="node1" presStyleIdx="6" presStyleCnt="7">
        <dgm:presLayoutVars>
          <dgm:chMax val="0"/>
          <dgm:bulletEnabled val="1"/>
        </dgm:presLayoutVars>
      </dgm:prSet>
      <dgm:spPr/>
    </dgm:pt>
  </dgm:ptLst>
  <dgm:cxnLst>
    <dgm:cxn modelId="{0BCB4C06-EBDA-2C43-BA43-79B1E3DC50B4}" type="presOf" srcId="{79110A5A-6400-4FEA-B03F-B00E9894F7E8}" destId="{6576C14A-AB9C-C94A-BDD5-47411427C20C}" srcOrd="0" destOrd="0" presId="urn:microsoft.com/office/officeart/2005/8/layout/vList2"/>
    <dgm:cxn modelId="{BC014410-41E6-4E46-A85B-26744772F093}" type="presOf" srcId="{98DD4545-D1B0-43D0-AB73-DBCA723A9894}" destId="{4BC48644-57CB-254D-AFB9-FF69E5F957A1}" srcOrd="0" destOrd="0" presId="urn:microsoft.com/office/officeart/2005/8/layout/vList2"/>
    <dgm:cxn modelId="{EADE8621-E8C4-834B-A901-4F991F0CCB13}" srcId="{79110A5A-6400-4FEA-B03F-B00E9894F7E8}" destId="{82B22D68-6BDF-7E4C-93BF-7CB0ECC40273}" srcOrd="6" destOrd="0" parTransId="{F499B16A-0757-584D-93F4-489467BEDC64}" sibTransId="{C1498A2D-00AB-544C-8F29-6D755B0FF7E8}"/>
    <dgm:cxn modelId="{A685175B-199C-4013-AE7F-D6A4001EC0D6}" srcId="{79110A5A-6400-4FEA-B03F-B00E9894F7E8}" destId="{E3915D64-26E4-4898-AD3B-00252DA3F804}" srcOrd="4" destOrd="0" parTransId="{41E9BB06-A908-4B69-B780-03A7CC68E23F}" sibTransId="{5417B171-6732-4EE5-81E9-17A00AEDF173}"/>
    <dgm:cxn modelId="{700BBC5E-11BE-4513-B13F-7754F5EB54FC}" srcId="{79110A5A-6400-4FEA-B03F-B00E9894F7E8}" destId="{07F60F3B-ADBD-4738-8D99-DA726ABDEF2A}" srcOrd="0" destOrd="0" parTransId="{5416D0AC-5BBE-4829-950A-7267E02557BA}" sibTransId="{D20167A2-AE1F-4F93-B4C0-D16AE9B13BB8}"/>
    <dgm:cxn modelId="{24151771-E27E-9349-91FA-D70F2C69A00B}" type="presOf" srcId="{82B22D68-6BDF-7E4C-93BF-7CB0ECC40273}" destId="{52632660-31F2-EA42-85AE-F9E536C34372}" srcOrd="0" destOrd="0" presId="urn:microsoft.com/office/officeart/2005/8/layout/vList2"/>
    <dgm:cxn modelId="{59031282-DED8-AB46-BB6C-7208B09E97A1}" type="presOf" srcId="{535EB371-87F3-4714-8E6B-F35C1C6D1E43}" destId="{46254634-E22C-544F-AA98-6CC54D5E39FB}" srcOrd="0" destOrd="0" presId="urn:microsoft.com/office/officeart/2005/8/layout/vList2"/>
    <dgm:cxn modelId="{FB0D92A1-ABCC-D142-8F64-AB435AA258B7}" type="presOf" srcId="{3958A312-8F6A-4B13-9C7F-B7701E25F921}" destId="{30F82C7D-27FC-3942-B95E-0CD0B49349CD}" srcOrd="0" destOrd="0" presId="urn:microsoft.com/office/officeart/2005/8/layout/vList2"/>
    <dgm:cxn modelId="{E5760CA6-9A85-4DD2-BFC8-951BFCBFCE94}" srcId="{79110A5A-6400-4FEA-B03F-B00E9894F7E8}" destId="{98DD4545-D1B0-43D0-AB73-DBCA723A9894}" srcOrd="2" destOrd="0" parTransId="{4102954E-F079-4F76-A4E5-6F9A9D794078}" sibTransId="{DB89B49B-27CA-4FF3-86D8-3978EBF2BFDC}"/>
    <dgm:cxn modelId="{172180A7-6808-401E-BBCB-A17B4ECE3830}" srcId="{79110A5A-6400-4FEA-B03F-B00E9894F7E8}" destId="{535EB371-87F3-4714-8E6B-F35C1C6D1E43}" srcOrd="3" destOrd="0" parTransId="{06E59419-F721-48F0-9E05-F1D338DD5BDE}" sibTransId="{F75E7D0E-F1A9-4A80-8940-25CABE0A775B}"/>
    <dgm:cxn modelId="{F55CDBAC-27BC-2B49-B80E-E8AC58C587A5}" type="presOf" srcId="{E3915D64-26E4-4898-AD3B-00252DA3F804}" destId="{EEEB27AD-3BB5-364C-94DD-A1B8131A13EE}" srcOrd="0" destOrd="0" presId="urn:microsoft.com/office/officeart/2005/8/layout/vList2"/>
    <dgm:cxn modelId="{51E776BF-C6F5-4403-B34A-C96BBC91BF99}" srcId="{79110A5A-6400-4FEA-B03F-B00E9894F7E8}" destId="{3958A312-8F6A-4B13-9C7F-B7701E25F921}" srcOrd="5" destOrd="0" parTransId="{A1E6E98E-B64B-4E1C-A22B-DDC4DCEE35C6}" sibTransId="{A83C13E5-478D-434D-8B45-E09E5EDBD4BE}"/>
    <dgm:cxn modelId="{8AE9EBC3-3906-458F-9E40-1D8A63660F72}" srcId="{79110A5A-6400-4FEA-B03F-B00E9894F7E8}" destId="{1817FEA4-C366-46B1-980F-D45A89E991D7}" srcOrd="1" destOrd="0" parTransId="{13F223E8-40EB-4166-9D1A-D129313B3E95}" sibTransId="{353396E8-1419-4A5D-9C15-9CDFB07B0D60}"/>
    <dgm:cxn modelId="{05D72FED-BD3D-044C-920F-CABEE85554DF}" type="presOf" srcId="{07F60F3B-ADBD-4738-8D99-DA726ABDEF2A}" destId="{04F9177E-4E66-3B4C-93B1-2276804ACEE7}" srcOrd="0" destOrd="0" presId="urn:microsoft.com/office/officeart/2005/8/layout/vList2"/>
    <dgm:cxn modelId="{D9941BF6-9021-2648-A919-57B48A1B7BB6}" type="presOf" srcId="{1817FEA4-C366-46B1-980F-D45A89E991D7}" destId="{78C38D9B-6F58-4F49-B5D5-4850E5574F5B}" srcOrd="0" destOrd="0" presId="urn:microsoft.com/office/officeart/2005/8/layout/vList2"/>
    <dgm:cxn modelId="{5C6CC61C-AB59-504A-A5C0-D43C8CF3A683}" type="presParOf" srcId="{6576C14A-AB9C-C94A-BDD5-47411427C20C}" destId="{04F9177E-4E66-3B4C-93B1-2276804ACEE7}" srcOrd="0" destOrd="0" presId="urn:microsoft.com/office/officeart/2005/8/layout/vList2"/>
    <dgm:cxn modelId="{49079599-ACB0-E041-AE2C-5ECB73C1A157}" type="presParOf" srcId="{6576C14A-AB9C-C94A-BDD5-47411427C20C}" destId="{C670E140-8E57-5140-A4BE-C2C29F51F0A3}" srcOrd="1" destOrd="0" presId="urn:microsoft.com/office/officeart/2005/8/layout/vList2"/>
    <dgm:cxn modelId="{10AAF3F0-033A-D74D-AA73-628B356599DC}" type="presParOf" srcId="{6576C14A-AB9C-C94A-BDD5-47411427C20C}" destId="{78C38D9B-6F58-4F49-B5D5-4850E5574F5B}" srcOrd="2" destOrd="0" presId="urn:microsoft.com/office/officeart/2005/8/layout/vList2"/>
    <dgm:cxn modelId="{C4B5D14F-2187-5349-8FC9-25F3F0BC1BD3}" type="presParOf" srcId="{6576C14A-AB9C-C94A-BDD5-47411427C20C}" destId="{A121D136-B36A-1543-ACB8-2B8F9BDD98A7}" srcOrd="3" destOrd="0" presId="urn:microsoft.com/office/officeart/2005/8/layout/vList2"/>
    <dgm:cxn modelId="{2CD83F78-A997-3945-B382-12E08EA52282}" type="presParOf" srcId="{6576C14A-AB9C-C94A-BDD5-47411427C20C}" destId="{4BC48644-57CB-254D-AFB9-FF69E5F957A1}" srcOrd="4" destOrd="0" presId="urn:microsoft.com/office/officeart/2005/8/layout/vList2"/>
    <dgm:cxn modelId="{E378EBCD-4BF5-CC47-A33C-A664E2099967}" type="presParOf" srcId="{6576C14A-AB9C-C94A-BDD5-47411427C20C}" destId="{858FE5C0-6A6F-214C-8F9C-46A0F1689EC6}" srcOrd="5" destOrd="0" presId="urn:microsoft.com/office/officeart/2005/8/layout/vList2"/>
    <dgm:cxn modelId="{9FAB3DD4-0DE1-5D4C-9D96-AB6CC440C0B8}" type="presParOf" srcId="{6576C14A-AB9C-C94A-BDD5-47411427C20C}" destId="{46254634-E22C-544F-AA98-6CC54D5E39FB}" srcOrd="6" destOrd="0" presId="urn:microsoft.com/office/officeart/2005/8/layout/vList2"/>
    <dgm:cxn modelId="{508F739A-C5C7-7641-8BDE-D1355D994F9F}" type="presParOf" srcId="{6576C14A-AB9C-C94A-BDD5-47411427C20C}" destId="{8B4952C2-4BDF-4049-A5CA-70500DD46E45}" srcOrd="7" destOrd="0" presId="urn:microsoft.com/office/officeart/2005/8/layout/vList2"/>
    <dgm:cxn modelId="{EC29FC15-593B-2140-8632-79FD623D6150}" type="presParOf" srcId="{6576C14A-AB9C-C94A-BDD5-47411427C20C}" destId="{EEEB27AD-3BB5-364C-94DD-A1B8131A13EE}" srcOrd="8" destOrd="0" presId="urn:microsoft.com/office/officeart/2005/8/layout/vList2"/>
    <dgm:cxn modelId="{743F321F-F7E2-0449-8D75-A315CB29CE30}" type="presParOf" srcId="{6576C14A-AB9C-C94A-BDD5-47411427C20C}" destId="{38CE06DB-82CE-8846-8EBA-DCA0D1425254}" srcOrd="9" destOrd="0" presId="urn:microsoft.com/office/officeart/2005/8/layout/vList2"/>
    <dgm:cxn modelId="{EAEA0A08-EF62-2B47-9758-8A124F08A54C}" type="presParOf" srcId="{6576C14A-AB9C-C94A-BDD5-47411427C20C}" destId="{30F82C7D-27FC-3942-B95E-0CD0B49349CD}" srcOrd="10" destOrd="0" presId="urn:microsoft.com/office/officeart/2005/8/layout/vList2"/>
    <dgm:cxn modelId="{6826FBDD-7F1A-6040-A312-587594C36F5E}" type="presParOf" srcId="{6576C14A-AB9C-C94A-BDD5-47411427C20C}" destId="{C50F4B42-1BAB-8246-96C4-934CD29AF0D4}" srcOrd="11" destOrd="0" presId="urn:microsoft.com/office/officeart/2005/8/layout/vList2"/>
    <dgm:cxn modelId="{B4C3A2F0-19F8-9B47-8DFA-F503EC220412}" type="presParOf" srcId="{6576C14A-AB9C-C94A-BDD5-47411427C20C}" destId="{52632660-31F2-EA42-85AE-F9E536C34372}"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001FDB4-E057-4444-987A-FCE1B13D0C03}"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E44F1DBD-73D2-48FE-A184-A3117A1673B7}">
      <dgm:prSet/>
      <dgm:spPr/>
      <dgm:t>
        <a:bodyPr/>
        <a:lstStyle/>
        <a:p>
          <a:r>
            <a:rPr lang="en-US" b="1"/>
            <a:t>Policy. </a:t>
          </a:r>
          <a:r>
            <a:rPr lang="en-GB"/>
            <a:t>School’s policy should be available to view, all staff should be aware of where it is kept. </a:t>
          </a:r>
          <a:endParaRPr lang="en-US"/>
        </a:p>
      </dgm:t>
    </dgm:pt>
    <dgm:pt modelId="{8CE99B6B-C7A9-4B56-9848-2650B3119416}" type="parTrans" cxnId="{55082069-2226-4309-B13B-9D9B96197A67}">
      <dgm:prSet/>
      <dgm:spPr/>
      <dgm:t>
        <a:bodyPr/>
        <a:lstStyle/>
        <a:p>
          <a:endParaRPr lang="en-US"/>
        </a:p>
      </dgm:t>
    </dgm:pt>
    <dgm:pt modelId="{E6AD8000-1F5B-4443-9240-12720712C21A}" type="sibTrans" cxnId="{55082069-2226-4309-B13B-9D9B96197A67}">
      <dgm:prSet/>
      <dgm:spPr/>
      <dgm:t>
        <a:bodyPr/>
        <a:lstStyle/>
        <a:p>
          <a:endParaRPr lang="en-US"/>
        </a:p>
      </dgm:t>
    </dgm:pt>
    <dgm:pt modelId="{1497AF74-EC03-4B9D-AB86-93CD6DA69EFC}">
      <dgm:prSet/>
      <dgm:spPr/>
      <dgm:t>
        <a:bodyPr/>
        <a:lstStyle/>
        <a:p>
          <a:r>
            <a:rPr lang="en-US" b="1"/>
            <a:t>Asthma register</a:t>
          </a:r>
          <a:endParaRPr lang="en-US"/>
        </a:p>
      </dgm:t>
    </dgm:pt>
    <dgm:pt modelId="{0B4394E3-EDE2-48C9-B82D-C96E87308C0C}" type="parTrans" cxnId="{BB30294D-AC66-4472-87A9-23466E25D558}">
      <dgm:prSet/>
      <dgm:spPr/>
      <dgm:t>
        <a:bodyPr/>
        <a:lstStyle/>
        <a:p>
          <a:endParaRPr lang="en-US"/>
        </a:p>
      </dgm:t>
    </dgm:pt>
    <dgm:pt modelId="{37EBDC46-6FD1-4547-9469-A31C53C09377}" type="sibTrans" cxnId="{BB30294D-AC66-4472-87A9-23466E25D558}">
      <dgm:prSet/>
      <dgm:spPr/>
      <dgm:t>
        <a:bodyPr/>
        <a:lstStyle/>
        <a:p>
          <a:endParaRPr lang="en-US"/>
        </a:p>
      </dgm:t>
    </dgm:pt>
    <dgm:pt modelId="{8701AE64-AFEB-4A53-9C27-B5C35FB6770F}">
      <dgm:prSet/>
      <dgm:spPr/>
      <dgm:t>
        <a:bodyPr/>
        <a:lstStyle/>
        <a:p>
          <a:r>
            <a:rPr lang="en-US" b="1"/>
            <a:t>Emergency kits/procedure</a:t>
          </a:r>
          <a:endParaRPr lang="en-US"/>
        </a:p>
      </dgm:t>
    </dgm:pt>
    <dgm:pt modelId="{9BCCA5AA-122B-4B81-AFF8-CE9E19346307}" type="parTrans" cxnId="{844CBBFF-91EF-4127-9051-6CEBD6E3DF4F}">
      <dgm:prSet/>
      <dgm:spPr/>
      <dgm:t>
        <a:bodyPr/>
        <a:lstStyle/>
        <a:p>
          <a:endParaRPr lang="en-US"/>
        </a:p>
      </dgm:t>
    </dgm:pt>
    <dgm:pt modelId="{1D923C13-948D-4555-862A-235751E2FAF5}" type="sibTrans" cxnId="{844CBBFF-91EF-4127-9051-6CEBD6E3DF4F}">
      <dgm:prSet/>
      <dgm:spPr/>
      <dgm:t>
        <a:bodyPr/>
        <a:lstStyle/>
        <a:p>
          <a:endParaRPr lang="en-US"/>
        </a:p>
      </dgm:t>
    </dgm:pt>
    <dgm:pt modelId="{4E8DCDD9-2D0B-400F-9F86-14CB491283EC}">
      <dgm:prSet/>
      <dgm:spPr/>
      <dgm:t>
        <a:bodyPr/>
        <a:lstStyle/>
        <a:p>
          <a:r>
            <a:rPr lang="en-US" b="1"/>
            <a:t>Individual health care plan. </a:t>
          </a:r>
          <a:endParaRPr lang="en-US"/>
        </a:p>
      </dgm:t>
    </dgm:pt>
    <dgm:pt modelId="{E8699D02-30D9-463E-92E6-ED2049FD8A5D}" type="parTrans" cxnId="{298888B5-22AB-4845-A996-DC38B7015F3C}">
      <dgm:prSet/>
      <dgm:spPr/>
      <dgm:t>
        <a:bodyPr/>
        <a:lstStyle/>
        <a:p>
          <a:endParaRPr lang="en-US"/>
        </a:p>
      </dgm:t>
    </dgm:pt>
    <dgm:pt modelId="{6EEAEF8C-CD28-463C-AB29-6CBF5D895B3E}" type="sibTrans" cxnId="{298888B5-22AB-4845-A996-DC38B7015F3C}">
      <dgm:prSet/>
      <dgm:spPr/>
      <dgm:t>
        <a:bodyPr/>
        <a:lstStyle/>
        <a:p>
          <a:endParaRPr lang="en-US"/>
        </a:p>
      </dgm:t>
    </dgm:pt>
    <dgm:pt modelId="{FF7EF1D7-BC4C-4C77-9C5F-2AEB9272314F}">
      <dgm:prSet/>
      <dgm:spPr/>
      <dgm:t>
        <a:bodyPr/>
        <a:lstStyle/>
        <a:p>
          <a:r>
            <a:rPr lang="en-US" b="1"/>
            <a:t>Whole school training</a:t>
          </a:r>
          <a:endParaRPr lang="en-US"/>
        </a:p>
      </dgm:t>
    </dgm:pt>
    <dgm:pt modelId="{B79732CD-CBCB-42B9-A45B-14472C3343E2}" type="parTrans" cxnId="{1ACE5AED-B43B-4FBA-8E6C-D08DE433D3F3}">
      <dgm:prSet/>
      <dgm:spPr/>
      <dgm:t>
        <a:bodyPr/>
        <a:lstStyle/>
        <a:p>
          <a:endParaRPr lang="en-US"/>
        </a:p>
      </dgm:t>
    </dgm:pt>
    <dgm:pt modelId="{F5B85DEB-085C-448F-BE4B-B3F89449444B}" type="sibTrans" cxnId="{1ACE5AED-B43B-4FBA-8E6C-D08DE433D3F3}">
      <dgm:prSet/>
      <dgm:spPr/>
      <dgm:t>
        <a:bodyPr/>
        <a:lstStyle/>
        <a:p>
          <a:endParaRPr lang="en-US"/>
        </a:p>
      </dgm:t>
    </dgm:pt>
    <dgm:pt modelId="{A2D58889-388B-2F4D-B3BA-AB77583DE70E}" type="pres">
      <dgm:prSet presAssocID="{2001FDB4-E057-4444-987A-FCE1B13D0C03}" presName="vert0" presStyleCnt="0">
        <dgm:presLayoutVars>
          <dgm:dir/>
          <dgm:animOne val="branch"/>
          <dgm:animLvl val="lvl"/>
        </dgm:presLayoutVars>
      </dgm:prSet>
      <dgm:spPr/>
    </dgm:pt>
    <dgm:pt modelId="{064A6A9D-3F97-494F-B30B-7208575F55AF}" type="pres">
      <dgm:prSet presAssocID="{E44F1DBD-73D2-48FE-A184-A3117A1673B7}" presName="thickLine" presStyleLbl="alignNode1" presStyleIdx="0" presStyleCnt="5"/>
      <dgm:spPr/>
    </dgm:pt>
    <dgm:pt modelId="{FF3B2CB9-E15C-7F47-9644-A93422B6D5D3}" type="pres">
      <dgm:prSet presAssocID="{E44F1DBD-73D2-48FE-A184-A3117A1673B7}" presName="horz1" presStyleCnt="0"/>
      <dgm:spPr/>
    </dgm:pt>
    <dgm:pt modelId="{F39E19F7-410E-F54C-8C86-015434272B11}" type="pres">
      <dgm:prSet presAssocID="{E44F1DBD-73D2-48FE-A184-A3117A1673B7}" presName="tx1" presStyleLbl="revTx" presStyleIdx="0" presStyleCnt="5"/>
      <dgm:spPr/>
    </dgm:pt>
    <dgm:pt modelId="{C082C02B-995B-4040-9383-60B5661B9189}" type="pres">
      <dgm:prSet presAssocID="{E44F1DBD-73D2-48FE-A184-A3117A1673B7}" presName="vert1" presStyleCnt="0"/>
      <dgm:spPr/>
    </dgm:pt>
    <dgm:pt modelId="{DBC5279E-9693-2B43-BABA-9E0F5960FEA5}" type="pres">
      <dgm:prSet presAssocID="{1497AF74-EC03-4B9D-AB86-93CD6DA69EFC}" presName="thickLine" presStyleLbl="alignNode1" presStyleIdx="1" presStyleCnt="5"/>
      <dgm:spPr/>
    </dgm:pt>
    <dgm:pt modelId="{9EBF9E5E-2721-E746-AD2B-FA46DD1721A3}" type="pres">
      <dgm:prSet presAssocID="{1497AF74-EC03-4B9D-AB86-93CD6DA69EFC}" presName="horz1" presStyleCnt="0"/>
      <dgm:spPr/>
    </dgm:pt>
    <dgm:pt modelId="{D0BDDF6D-26D1-0241-9BBF-DD7776127651}" type="pres">
      <dgm:prSet presAssocID="{1497AF74-EC03-4B9D-AB86-93CD6DA69EFC}" presName="tx1" presStyleLbl="revTx" presStyleIdx="1" presStyleCnt="5"/>
      <dgm:spPr/>
    </dgm:pt>
    <dgm:pt modelId="{96891916-4DF8-2141-9420-78BFDF2CCAA4}" type="pres">
      <dgm:prSet presAssocID="{1497AF74-EC03-4B9D-AB86-93CD6DA69EFC}" presName="vert1" presStyleCnt="0"/>
      <dgm:spPr/>
    </dgm:pt>
    <dgm:pt modelId="{4F613FDE-6439-5344-B4FC-BDF06306EDBC}" type="pres">
      <dgm:prSet presAssocID="{8701AE64-AFEB-4A53-9C27-B5C35FB6770F}" presName="thickLine" presStyleLbl="alignNode1" presStyleIdx="2" presStyleCnt="5"/>
      <dgm:spPr/>
    </dgm:pt>
    <dgm:pt modelId="{D4C28289-AA21-6240-A061-BD24A6C29080}" type="pres">
      <dgm:prSet presAssocID="{8701AE64-AFEB-4A53-9C27-B5C35FB6770F}" presName="horz1" presStyleCnt="0"/>
      <dgm:spPr/>
    </dgm:pt>
    <dgm:pt modelId="{E0750698-F97E-B343-9908-2814D2541EAC}" type="pres">
      <dgm:prSet presAssocID="{8701AE64-AFEB-4A53-9C27-B5C35FB6770F}" presName="tx1" presStyleLbl="revTx" presStyleIdx="2" presStyleCnt="5"/>
      <dgm:spPr/>
    </dgm:pt>
    <dgm:pt modelId="{FA7DE70F-DA05-9A48-B5A8-CFAFD9D588B9}" type="pres">
      <dgm:prSet presAssocID="{8701AE64-AFEB-4A53-9C27-B5C35FB6770F}" presName="vert1" presStyleCnt="0"/>
      <dgm:spPr/>
    </dgm:pt>
    <dgm:pt modelId="{93C77093-2044-394C-815C-A884A6FC02D1}" type="pres">
      <dgm:prSet presAssocID="{4E8DCDD9-2D0B-400F-9F86-14CB491283EC}" presName="thickLine" presStyleLbl="alignNode1" presStyleIdx="3" presStyleCnt="5"/>
      <dgm:spPr/>
    </dgm:pt>
    <dgm:pt modelId="{9289F20B-7CA4-C84F-8220-FD719F59D94E}" type="pres">
      <dgm:prSet presAssocID="{4E8DCDD9-2D0B-400F-9F86-14CB491283EC}" presName="horz1" presStyleCnt="0"/>
      <dgm:spPr/>
    </dgm:pt>
    <dgm:pt modelId="{6DCFA2AE-A152-B240-87EB-A2DD1888D744}" type="pres">
      <dgm:prSet presAssocID="{4E8DCDD9-2D0B-400F-9F86-14CB491283EC}" presName="tx1" presStyleLbl="revTx" presStyleIdx="3" presStyleCnt="5"/>
      <dgm:spPr/>
    </dgm:pt>
    <dgm:pt modelId="{9957ABEA-3263-3A44-BB41-18224793A064}" type="pres">
      <dgm:prSet presAssocID="{4E8DCDD9-2D0B-400F-9F86-14CB491283EC}" presName="vert1" presStyleCnt="0"/>
      <dgm:spPr/>
    </dgm:pt>
    <dgm:pt modelId="{E1C92D4B-A881-C749-A1F0-11BFE703C088}" type="pres">
      <dgm:prSet presAssocID="{FF7EF1D7-BC4C-4C77-9C5F-2AEB9272314F}" presName="thickLine" presStyleLbl="alignNode1" presStyleIdx="4" presStyleCnt="5"/>
      <dgm:spPr/>
    </dgm:pt>
    <dgm:pt modelId="{4E81FE90-267F-584B-8CDF-4352C4BA5BC2}" type="pres">
      <dgm:prSet presAssocID="{FF7EF1D7-BC4C-4C77-9C5F-2AEB9272314F}" presName="horz1" presStyleCnt="0"/>
      <dgm:spPr/>
    </dgm:pt>
    <dgm:pt modelId="{3ECF1CC0-625E-7A44-906A-295FAC6061AA}" type="pres">
      <dgm:prSet presAssocID="{FF7EF1D7-BC4C-4C77-9C5F-2AEB9272314F}" presName="tx1" presStyleLbl="revTx" presStyleIdx="4" presStyleCnt="5"/>
      <dgm:spPr/>
    </dgm:pt>
    <dgm:pt modelId="{AE6FD2C6-0E78-CA4A-87DE-F3BEEF79F898}" type="pres">
      <dgm:prSet presAssocID="{FF7EF1D7-BC4C-4C77-9C5F-2AEB9272314F}" presName="vert1" presStyleCnt="0"/>
      <dgm:spPr/>
    </dgm:pt>
  </dgm:ptLst>
  <dgm:cxnLst>
    <dgm:cxn modelId="{E0A1A41D-5E0D-3249-B279-11AD5DCADD43}" type="presOf" srcId="{E44F1DBD-73D2-48FE-A184-A3117A1673B7}" destId="{F39E19F7-410E-F54C-8C86-015434272B11}" srcOrd="0" destOrd="0" presId="urn:microsoft.com/office/officeart/2008/layout/LinedList"/>
    <dgm:cxn modelId="{BB30294D-AC66-4472-87A9-23466E25D558}" srcId="{2001FDB4-E057-4444-987A-FCE1B13D0C03}" destId="{1497AF74-EC03-4B9D-AB86-93CD6DA69EFC}" srcOrd="1" destOrd="0" parTransId="{0B4394E3-EDE2-48C9-B82D-C96E87308C0C}" sibTransId="{37EBDC46-6FD1-4547-9469-A31C53C09377}"/>
    <dgm:cxn modelId="{55082069-2226-4309-B13B-9D9B96197A67}" srcId="{2001FDB4-E057-4444-987A-FCE1B13D0C03}" destId="{E44F1DBD-73D2-48FE-A184-A3117A1673B7}" srcOrd="0" destOrd="0" parTransId="{8CE99B6B-C7A9-4B56-9848-2650B3119416}" sibTransId="{E6AD8000-1F5B-4443-9240-12720712C21A}"/>
    <dgm:cxn modelId="{5E44DE7C-8627-804C-A88E-00CF09249D67}" type="presOf" srcId="{8701AE64-AFEB-4A53-9C27-B5C35FB6770F}" destId="{E0750698-F97E-B343-9908-2814D2541EAC}" srcOrd="0" destOrd="0" presId="urn:microsoft.com/office/officeart/2008/layout/LinedList"/>
    <dgm:cxn modelId="{4BF7AC99-52A3-844D-9FD0-24027D244649}" type="presOf" srcId="{1497AF74-EC03-4B9D-AB86-93CD6DA69EFC}" destId="{D0BDDF6D-26D1-0241-9BBF-DD7776127651}" srcOrd="0" destOrd="0" presId="urn:microsoft.com/office/officeart/2008/layout/LinedList"/>
    <dgm:cxn modelId="{298888B5-22AB-4845-A996-DC38B7015F3C}" srcId="{2001FDB4-E057-4444-987A-FCE1B13D0C03}" destId="{4E8DCDD9-2D0B-400F-9F86-14CB491283EC}" srcOrd="3" destOrd="0" parTransId="{E8699D02-30D9-463E-92E6-ED2049FD8A5D}" sibTransId="{6EEAEF8C-CD28-463C-AB29-6CBF5D895B3E}"/>
    <dgm:cxn modelId="{D08D88BB-5B29-AF42-8F18-26CBB5BBC234}" type="presOf" srcId="{2001FDB4-E057-4444-987A-FCE1B13D0C03}" destId="{A2D58889-388B-2F4D-B3BA-AB77583DE70E}" srcOrd="0" destOrd="0" presId="urn:microsoft.com/office/officeart/2008/layout/LinedList"/>
    <dgm:cxn modelId="{B7727ECB-DDF6-9A44-A989-D605472D9FF2}" type="presOf" srcId="{4E8DCDD9-2D0B-400F-9F86-14CB491283EC}" destId="{6DCFA2AE-A152-B240-87EB-A2DD1888D744}" srcOrd="0" destOrd="0" presId="urn:microsoft.com/office/officeart/2008/layout/LinedList"/>
    <dgm:cxn modelId="{1ACE5AED-B43B-4FBA-8E6C-D08DE433D3F3}" srcId="{2001FDB4-E057-4444-987A-FCE1B13D0C03}" destId="{FF7EF1D7-BC4C-4C77-9C5F-2AEB9272314F}" srcOrd="4" destOrd="0" parTransId="{B79732CD-CBCB-42B9-A45B-14472C3343E2}" sibTransId="{F5B85DEB-085C-448F-BE4B-B3F89449444B}"/>
    <dgm:cxn modelId="{84E86AFE-39BC-E34E-902D-EAB1720FED2A}" type="presOf" srcId="{FF7EF1D7-BC4C-4C77-9C5F-2AEB9272314F}" destId="{3ECF1CC0-625E-7A44-906A-295FAC6061AA}" srcOrd="0" destOrd="0" presId="urn:microsoft.com/office/officeart/2008/layout/LinedList"/>
    <dgm:cxn modelId="{844CBBFF-91EF-4127-9051-6CEBD6E3DF4F}" srcId="{2001FDB4-E057-4444-987A-FCE1B13D0C03}" destId="{8701AE64-AFEB-4A53-9C27-B5C35FB6770F}" srcOrd="2" destOrd="0" parTransId="{9BCCA5AA-122B-4B81-AFF8-CE9E19346307}" sibTransId="{1D923C13-948D-4555-862A-235751E2FAF5}"/>
    <dgm:cxn modelId="{B11D84D8-CD8B-594F-8BA1-7DD8A7CD9A54}" type="presParOf" srcId="{A2D58889-388B-2F4D-B3BA-AB77583DE70E}" destId="{064A6A9D-3F97-494F-B30B-7208575F55AF}" srcOrd="0" destOrd="0" presId="urn:microsoft.com/office/officeart/2008/layout/LinedList"/>
    <dgm:cxn modelId="{B3622C51-77CA-7447-A3CD-3405E5B92D37}" type="presParOf" srcId="{A2D58889-388B-2F4D-B3BA-AB77583DE70E}" destId="{FF3B2CB9-E15C-7F47-9644-A93422B6D5D3}" srcOrd="1" destOrd="0" presId="urn:microsoft.com/office/officeart/2008/layout/LinedList"/>
    <dgm:cxn modelId="{0BC0B764-197F-0D4B-ABC7-4A5247567018}" type="presParOf" srcId="{FF3B2CB9-E15C-7F47-9644-A93422B6D5D3}" destId="{F39E19F7-410E-F54C-8C86-015434272B11}" srcOrd="0" destOrd="0" presId="urn:microsoft.com/office/officeart/2008/layout/LinedList"/>
    <dgm:cxn modelId="{E6631D00-1B44-8547-BC4C-9A1ECF08C521}" type="presParOf" srcId="{FF3B2CB9-E15C-7F47-9644-A93422B6D5D3}" destId="{C082C02B-995B-4040-9383-60B5661B9189}" srcOrd="1" destOrd="0" presId="urn:microsoft.com/office/officeart/2008/layout/LinedList"/>
    <dgm:cxn modelId="{858D2918-8145-1843-988E-80AAE6D368ED}" type="presParOf" srcId="{A2D58889-388B-2F4D-B3BA-AB77583DE70E}" destId="{DBC5279E-9693-2B43-BABA-9E0F5960FEA5}" srcOrd="2" destOrd="0" presId="urn:microsoft.com/office/officeart/2008/layout/LinedList"/>
    <dgm:cxn modelId="{CECA1D88-881C-7941-AC01-905A3E1ED129}" type="presParOf" srcId="{A2D58889-388B-2F4D-B3BA-AB77583DE70E}" destId="{9EBF9E5E-2721-E746-AD2B-FA46DD1721A3}" srcOrd="3" destOrd="0" presId="urn:microsoft.com/office/officeart/2008/layout/LinedList"/>
    <dgm:cxn modelId="{A51C1DB5-7DF2-5747-9FB9-A75706F3CD4A}" type="presParOf" srcId="{9EBF9E5E-2721-E746-AD2B-FA46DD1721A3}" destId="{D0BDDF6D-26D1-0241-9BBF-DD7776127651}" srcOrd="0" destOrd="0" presId="urn:microsoft.com/office/officeart/2008/layout/LinedList"/>
    <dgm:cxn modelId="{CD17FD93-DF4A-1746-B27D-736F5778ABFA}" type="presParOf" srcId="{9EBF9E5E-2721-E746-AD2B-FA46DD1721A3}" destId="{96891916-4DF8-2141-9420-78BFDF2CCAA4}" srcOrd="1" destOrd="0" presId="urn:microsoft.com/office/officeart/2008/layout/LinedList"/>
    <dgm:cxn modelId="{D2003E0A-1F43-044E-99EA-666C815D0A68}" type="presParOf" srcId="{A2D58889-388B-2F4D-B3BA-AB77583DE70E}" destId="{4F613FDE-6439-5344-B4FC-BDF06306EDBC}" srcOrd="4" destOrd="0" presId="urn:microsoft.com/office/officeart/2008/layout/LinedList"/>
    <dgm:cxn modelId="{C87FEA55-C9F9-DF40-84A6-A90F959B1340}" type="presParOf" srcId="{A2D58889-388B-2F4D-B3BA-AB77583DE70E}" destId="{D4C28289-AA21-6240-A061-BD24A6C29080}" srcOrd="5" destOrd="0" presId="urn:microsoft.com/office/officeart/2008/layout/LinedList"/>
    <dgm:cxn modelId="{A70826CE-9B1C-7D4B-83DD-19487E564915}" type="presParOf" srcId="{D4C28289-AA21-6240-A061-BD24A6C29080}" destId="{E0750698-F97E-B343-9908-2814D2541EAC}" srcOrd="0" destOrd="0" presId="urn:microsoft.com/office/officeart/2008/layout/LinedList"/>
    <dgm:cxn modelId="{4200B404-AB0F-BB46-A1B0-074772694C5A}" type="presParOf" srcId="{D4C28289-AA21-6240-A061-BD24A6C29080}" destId="{FA7DE70F-DA05-9A48-B5A8-CFAFD9D588B9}" srcOrd="1" destOrd="0" presId="urn:microsoft.com/office/officeart/2008/layout/LinedList"/>
    <dgm:cxn modelId="{EA70A4AB-F5B7-7E4B-AAA4-FC477E3CBDE4}" type="presParOf" srcId="{A2D58889-388B-2F4D-B3BA-AB77583DE70E}" destId="{93C77093-2044-394C-815C-A884A6FC02D1}" srcOrd="6" destOrd="0" presId="urn:microsoft.com/office/officeart/2008/layout/LinedList"/>
    <dgm:cxn modelId="{A05905A7-0A66-B843-BAD2-C7CAB1C70B37}" type="presParOf" srcId="{A2D58889-388B-2F4D-B3BA-AB77583DE70E}" destId="{9289F20B-7CA4-C84F-8220-FD719F59D94E}" srcOrd="7" destOrd="0" presId="urn:microsoft.com/office/officeart/2008/layout/LinedList"/>
    <dgm:cxn modelId="{12023E55-D629-4E45-A850-08AA85DC6F19}" type="presParOf" srcId="{9289F20B-7CA4-C84F-8220-FD719F59D94E}" destId="{6DCFA2AE-A152-B240-87EB-A2DD1888D744}" srcOrd="0" destOrd="0" presId="urn:microsoft.com/office/officeart/2008/layout/LinedList"/>
    <dgm:cxn modelId="{2C261AF8-2A37-6945-A631-EAD3AC25C3DD}" type="presParOf" srcId="{9289F20B-7CA4-C84F-8220-FD719F59D94E}" destId="{9957ABEA-3263-3A44-BB41-18224793A064}" srcOrd="1" destOrd="0" presId="urn:microsoft.com/office/officeart/2008/layout/LinedList"/>
    <dgm:cxn modelId="{4FC799DF-67FE-D74B-B942-DD803C4DCBB3}" type="presParOf" srcId="{A2D58889-388B-2F4D-B3BA-AB77583DE70E}" destId="{E1C92D4B-A881-C749-A1F0-11BFE703C088}" srcOrd="8" destOrd="0" presId="urn:microsoft.com/office/officeart/2008/layout/LinedList"/>
    <dgm:cxn modelId="{1B022151-3F0D-FA4F-98CF-7DEAD8ED9409}" type="presParOf" srcId="{A2D58889-388B-2F4D-B3BA-AB77583DE70E}" destId="{4E81FE90-267F-584B-8CDF-4352C4BA5BC2}" srcOrd="9" destOrd="0" presId="urn:microsoft.com/office/officeart/2008/layout/LinedList"/>
    <dgm:cxn modelId="{9D5CAF45-813A-204A-8F60-EE0335118007}" type="presParOf" srcId="{4E81FE90-267F-584B-8CDF-4352C4BA5BC2}" destId="{3ECF1CC0-625E-7A44-906A-295FAC6061AA}" srcOrd="0" destOrd="0" presId="urn:microsoft.com/office/officeart/2008/layout/LinedList"/>
    <dgm:cxn modelId="{99AB224F-966F-AD4B-AD18-1609CAE249DA}" type="presParOf" srcId="{4E81FE90-267F-584B-8CDF-4352C4BA5BC2}" destId="{AE6FD2C6-0E78-CA4A-87DE-F3BEEF79F898}"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5E063-1A30-BE43-B6BA-0263D1EAABAA}">
      <dsp:nvSpPr>
        <dsp:cNvPr id="0" name=""/>
        <dsp:cNvSpPr/>
      </dsp:nvSpPr>
      <dsp:spPr>
        <a:xfrm>
          <a:off x="134291" y="612"/>
          <a:ext cx="4332795" cy="275132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A06F6D-84DE-204C-B7A1-7D057904EC2C}">
      <dsp:nvSpPr>
        <dsp:cNvPr id="0" name=""/>
        <dsp:cNvSpPr/>
      </dsp:nvSpPr>
      <dsp:spPr>
        <a:xfrm>
          <a:off x="615713" y="457963"/>
          <a:ext cx="4332795" cy="275132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Partnership between health, education and local authorities for managing CYP with asthma aged 5-18</a:t>
          </a:r>
        </a:p>
      </dsp:txBody>
      <dsp:txXfrm>
        <a:off x="696297" y="538547"/>
        <a:ext cx="4171627" cy="2590157"/>
      </dsp:txXfrm>
    </dsp:sp>
    <dsp:sp modelId="{9363C8C8-A7E6-E248-BDFD-17ECB199EAD3}">
      <dsp:nvSpPr>
        <dsp:cNvPr id="0" name=""/>
        <dsp:cNvSpPr/>
      </dsp:nvSpPr>
      <dsp:spPr>
        <a:xfrm>
          <a:off x="5429930" y="612"/>
          <a:ext cx="4332795" cy="2751325"/>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177BBE-FF7A-D642-A49B-B313FED8D6AA}">
      <dsp:nvSpPr>
        <dsp:cNvPr id="0" name=""/>
        <dsp:cNvSpPr/>
      </dsp:nvSpPr>
      <dsp:spPr>
        <a:xfrm>
          <a:off x="5911352" y="457963"/>
          <a:ext cx="4332795" cy="2751325"/>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doption of government policy on emergency inhalers and early years settings (education, individual healthcare plans)</a:t>
          </a:r>
        </a:p>
      </dsp:txBody>
      <dsp:txXfrm>
        <a:off x="5991936" y="538547"/>
        <a:ext cx="4171627" cy="25901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F9177E-4E66-3B4C-93B1-2276804ACEE7}">
      <dsp:nvSpPr>
        <dsp:cNvPr id="0" name=""/>
        <dsp:cNvSpPr/>
      </dsp:nvSpPr>
      <dsp:spPr>
        <a:xfrm>
          <a:off x="0" y="136468"/>
          <a:ext cx="6245265" cy="7150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Register of all students with asthma</a:t>
          </a:r>
        </a:p>
      </dsp:txBody>
      <dsp:txXfrm>
        <a:off x="34906" y="171374"/>
        <a:ext cx="6175453" cy="645240"/>
      </dsp:txXfrm>
    </dsp:sp>
    <dsp:sp modelId="{78C38D9B-6F58-4F49-B5D5-4850E5574F5B}">
      <dsp:nvSpPr>
        <dsp:cNvPr id="0" name=""/>
        <dsp:cNvSpPr/>
      </dsp:nvSpPr>
      <dsp:spPr>
        <a:xfrm>
          <a:off x="0" y="903361"/>
          <a:ext cx="6245265" cy="715052"/>
        </a:xfrm>
        <a:prstGeom prst="roundRect">
          <a:avLst/>
        </a:prstGeom>
        <a:solidFill>
          <a:schemeClr val="accent2">
            <a:hueOff val="-242561"/>
            <a:satOff val="-13988"/>
            <a:lumOff val="14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Management plan for each child</a:t>
          </a:r>
        </a:p>
      </dsp:txBody>
      <dsp:txXfrm>
        <a:off x="34906" y="938267"/>
        <a:ext cx="6175453" cy="645240"/>
      </dsp:txXfrm>
    </dsp:sp>
    <dsp:sp modelId="{4BC48644-57CB-254D-AFB9-FF69E5F957A1}">
      <dsp:nvSpPr>
        <dsp:cNvPr id="0" name=""/>
        <dsp:cNvSpPr/>
      </dsp:nvSpPr>
      <dsp:spPr>
        <a:xfrm>
          <a:off x="0" y="1670254"/>
          <a:ext cx="6245265" cy="715052"/>
        </a:xfrm>
        <a:prstGeom prst="roundRect">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Named individual responsible for asthma in each school (Asthma champion)</a:t>
          </a:r>
        </a:p>
      </dsp:txBody>
      <dsp:txXfrm>
        <a:off x="34906" y="1705160"/>
        <a:ext cx="6175453" cy="645240"/>
      </dsp:txXfrm>
    </dsp:sp>
    <dsp:sp modelId="{46254634-E22C-544F-AA98-6CC54D5E39FB}">
      <dsp:nvSpPr>
        <dsp:cNvPr id="0" name=""/>
        <dsp:cNvSpPr/>
      </dsp:nvSpPr>
      <dsp:spPr>
        <a:xfrm>
          <a:off x="0" y="2437147"/>
          <a:ext cx="6245265" cy="715052"/>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Policy for inhaler techniques and care of students with asthma</a:t>
          </a:r>
        </a:p>
      </dsp:txBody>
      <dsp:txXfrm>
        <a:off x="34906" y="2472053"/>
        <a:ext cx="6175453" cy="645240"/>
      </dsp:txXfrm>
    </dsp:sp>
    <dsp:sp modelId="{EEEB27AD-3BB5-364C-94DD-A1B8131A13EE}">
      <dsp:nvSpPr>
        <dsp:cNvPr id="0" name=""/>
        <dsp:cNvSpPr/>
      </dsp:nvSpPr>
      <dsp:spPr>
        <a:xfrm>
          <a:off x="0" y="3204039"/>
          <a:ext cx="6245265" cy="715052"/>
        </a:xfrm>
        <a:prstGeom prst="roundRect">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Policy regarding asthma and emergency treatment</a:t>
          </a:r>
        </a:p>
      </dsp:txBody>
      <dsp:txXfrm>
        <a:off x="34906" y="3238945"/>
        <a:ext cx="6175453" cy="645240"/>
      </dsp:txXfrm>
    </dsp:sp>
    <dsp:sp modelId="{30F82C7D-27FC-3942-B95E-0CD0B49349CD}">
      <dsp:nvSpPr>
        <dsp:cNvPr id="0" name=""/>
        <dsp:cNvSpPr/>
      </dsp:nvSpPr>
      <dsp:spPr>
        <a:xfrm>
          <a:off x="0" y="3970932"/>
          <a:ext cx="6245265" cy="715052"/>
        </a:xfrm>
        <a:prstGeom prst="roundRect">
          <a:avLst/>
        </a:prstGeom>
        <a:solidFill>
          <a:schemeClr val="accent2">
            <a:hueOff val="-1212803"/>
            <a:satOff val="-69940"/>
            <a:lumOff val="7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System to identify children missing school because of asthma, or avoiding sports or activities because of asthma</a:t>
          </a:r>
        </a:p>
      </dsp:txBody>
      <dsp:txXfrm>
        <a:off x="34906" y="4005838"/>
        <a:ext cx="6175453" cy="645240"/>
      </dsp:txXfrm>
    </dsp:sp>
    <dsp:sp modelId="{52632660-31F2-EA42-85AE-F9E536C34372}">
      <dsp:nvSpPr>
        <dsp:cNvPr id="0" name=""/>
        <dsp:cNvSpPr/>
      </dsp:nvSpPr>
      <dsp:spPr>
        <a:xfrm>
          <a:off x="0" y="4737825"/>
          <a:ext cx="6245265" cy="715052"/>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Asthma training for all school staff - 85% target</a:t>
          </a:r>
        </a:p>
      </dsp:txBody>
      <dsp:txXfrm>
        <a:off x="34906" y="4772731"/>
        <a:ext cx="6175453" cy="6452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4A6A9D-3F97-494F-B30B-7208575F55AF}">
      <dsp:nvSpPr>
        <dsp:cNvPr id="0" name=""/>
        <dsp:cNvSpPr/>
      </dsp:nvSpPr>
      <dsp:spPr>
        <a:xfrm>
          <a:off x="0" y="675"/>
          <a:ext cx="6900512"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9E19F7-410E-F54C-8C86-015434272B11}">
      <dsp:nvSpPr>
        <dsp:cNvPr id="0" name=""/>
        <dsp:cNvSpPr/>
      </dsp:nvSpPr>
      <dsp:spPr>
        <a:xfrm>
          <a:off x="0" y="675"/>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Policy. </a:t>
          </a:r>
          <a:r>
            <a:rPr lang="en-GB" sz="2600" kern="1200"/>
            <a:t>School’s policy should be available to view, all staff should be aware of where it is kept. </a:t>
          </a:r>
          <a:endParaRPr lang="en-US" sz="2600" kern="1200"/>
        </a:p>
      </dsp:txBody>
      <dsp:txXfrm>
        <a:off x="0" y="675"/>
        <a:ext cx="6900512" cy="1106957"/>
      </dsp:txXfrm>
    </dsp:sp>
    <dsp:sp modelId="{DBC5279E-9693-2B43-BABA-9E0F5960FEA5}">
      <dsp:nvSpPr>
        <dsp:cNvPr id="0" name=""/>
        <dsp:cNvSpPr/>
      </dsp:nvSpPr>
      <dsp:spPr>
        <a:xfrm>
          <a:off x="0" y="1107633"/>
          <a:ext cx="690051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BDDF6D-26D1-0241-9BBF-DD7776127651}">
      <dsp:nvSpPr>
        <dsp:cNvPr id="0" name=""/>
        <dsp:cNvSpPr/>
      </dsp:nvSpPr>
      <dsp:spPr>
        <a:xfrm>
          <a:off x="0" y="1107633"/>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Asthma register</a:t>
          </a:r>
          <a:endParaRPr lang="en-US" sz="2600" kern="1200"/>
        </a:p>
      </dsp:txBody>
      <dsp:txXfrm>
        <a:off x="0" y="1107633"/>
        <a:ext cx="6900512" cy="1106957"/>
      </dsp:txXfrm>
    </dsp:sp>
    <dsp:sp modelId="{4F613FDE-6439-5344-B4FC-BDF06306EDBC}">
      <dsp:nvSpPr>
        <dsp:cNvPr id="0" name=""/>
        <dsp:cNvSpPr/>
      </dsp:nvSpPr>
      <dsp:spPr>
        <a:xfrm>
          <a:off x="0" y="2214591"/>
          <a:ext cx="6900512"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750698-F97E-B343-9908-2814D2541EAC}">
      <dsp:nvSpPr>
        <dsp:cNvPr id="0" name=""/>
        <dsp:cNvSpPr/>
      </dsp:nvSpPr>
      <dsp:spPr>
        <a:xfrm>
          <a:off x="0" y="2214591"/>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Emergency kits/procedure</a:t>
          </a:r>
          <a:endParaRPr lang="en-US" sz="2600" kern="1200"/>
        </a:p>
      </dsp:txBody>
      <dsp:txXfrm>
        <a:off x="0" y="2214591"/>
        <a:ext cx="6900512" cy="1106957"/>
      </dsp:txXfrm>
    </dsp:sp>
    <dsp:sp modelId="{93C77093-2044-394C-815C-A884A6FC02D1}">
      <dsp:nvSpPr>
        <dsp:cNvPr id="0" name=""/>
        <dsp:cNvSpPr/>
      </dsp:nvSpPr>
      <dsp:spPr>
        <a:xfrm>
          <a:off x="0" y="3321549"/>
          <a:ext cx="6900512"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CFA2AE-A152-B240-87EB-A2DD1888D744}">
      <dsp:nvSpPr>
        <dsp:cNvPr id="0" name=""/>
        <dsp:cNvSpPr/>
      </dsp:nvSpPr>
      <dsp:spPr>
        <a:xfrm>
          <a:off x="0" y="3321549"/>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Individual health care plan. </a:t>
          </a:r>
          <a:endParaRPr lang="en-US" sz="2600" kern="1200"/>
        </a:p>
      </dsp:txBody>
      <dsp:txXfrm>
        <a:off x="0" y="3321549"/>
        <a:ext cx="6900512" cy="1106957"/>
      </dsp:txXfrm>
    </dsp:sp>
    <dsp:sp modelId="{E1C92D4B-A881-C749-A1F0-11BFE703C088}">
      <dsp:nvSpPr>
        <dsp:cNvPr id="0" name=""/>
        <dsp:cNvSpPr/>
      </dsp:nvSpPr>
      <dsp:spPr>
        <a:xfrm>
          <a:off x="0" y="4428507"/>
          <a:ext cx="6900512"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ECF1CC0-625E-7A44-906A-295FAC6061AA}">
      <dsp:nvSpPr>
        <dsp:cNvPr id="0" name=""/>
        <dsp:cNvSpPr/>
      </dsp:nvSpPr>
      <dsp:spPr>
        <a:xfrm>
          <a:off x="0" y="4428507"/>
          <a:ext cx="6900512" cy="11069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Whole school training</a:t>
          </a:r>
          <a:endParaRPr lang="en-US" sz="2600" kern="1200"/>
        </a:p>
      </dsp:txBody>
      <dsp:txXfrm>
        <a:off x="0" y="4428507"/>
        <a:ext cx="6900512" cy="110695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9447F-C0CC-871A-6DC2-7FA3E9BCB53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C8CC90C-9F86-875E-69C0-5CBC99FB3A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06AC7B7-240A-7199-457A-8363445CBB4C}"/>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8FCC96F3-5130-49D9-6893-61AECB9B6E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39EFE3-5EB0-85E3-971A-1016174E919A}"/>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3260727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B8F1D-9AE5-4996-2233-7D67BD2FF1C8}"/>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52E9A28-2E31-1E10-25CE-F486EE21DB8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B923C36-D909-DC7C-ED6F-C16FE1B1B1BA}"/>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BB098001-620E-2BA2-5EAB-CAA468DFAB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2286A7-561C-6D7C-A2F9-5427529683D9}"/>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3631545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B377DE-3E3A-E77B-F1D3-3A587DB61847}"/>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03CCCB8-F54D-586A-4BF6-CD9331468B04}"/>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91F0BA-AF3B-E75B-8FEB-D54777C1C4F2}"/>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D7BD3B11-ADBB-1551-07E0-7F463F4CB2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6BAA8C-DD4F-BAB2-8359-274EAE945C88}"/>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2554963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3881720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D147B-3383-3335-5117-4A840FF23F6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41E2EA4-245C-FD65-5AAF-F6E60EA3E37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5392732-EC22-C9B9-9B65-448B0056F44C}"/>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633932F8-B76A-DA20-2AF2-DE1CA822C3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D0F2C5-3748-5203-04DB-05939ECF8CF3}"/>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1367693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010FE-AF91-C349-9182-7953574BFCB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9B7B75F-AF8F-64AF-ADDD-4699315EB1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427F9A0F-30A0-2BC7-EA2E-7FAF132D536D}"/>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39D545CA-5C82-4E6F-E8CF-ECEFF18C27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FE4103-432B-6A28-A81E-88F11D7CDC77}"/>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1143737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F7FD1-471B-1FA3-967E-CFCDFEA2BA4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66E2CA2-22A2-6F04-234C-0F8F09CF4F2D}"/>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BF03CF9-4DCA-F286-22D0-4E92DEEE48B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4FDF39B-7F46-BF42-7B0C-6A0D3B85F0F8}"/>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6" name="Footer Placeholder 5">
            <a:extLst>
              <a:ext uri="{FF2B5EF4-FFF2-40B4-BE49-F238E27FC236}">
                <a16:creationId xmlns:a16="http://schemas.microsoft.com/office/drawing/2014/main" id="{E7FF4F53-36E7-9D61-87E3-A2E1E8DDE4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2E8862-BDDB-124A-5FBC-2E462B9AE146}"/>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1183932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02024-136D-FD50-615E-10249897E053}"/>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68A8C67-C9B7-549B-2F4A-68B5914542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563CEF2-5BE7-D9A2-81E7-4608114FBEC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0F01539-2FCF-ED67-D955-76E4B2739B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AFC5FD8-E717-3EB0-23C6-7EEB474203F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91D1C42-CC20-9432-85C0-5142859059EC}"/>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8" name="Footer Placeholder 7">
            <a:extLst>
              <a:ext uri="{FF2B5EF4-FFF2-40B4-BE49-F238E27FC236}">
                <a16:creationId xmlns:a16="http://schemas.microsoft.com/office/drawing/2014/main" id="{F79E182E-D906-FE7B-42B9-609B8C5BF71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7DBDE14-9710-CA1A-1739-8B32ADFE1D3D}"/>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2111741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3633A-2331-8E72-E188-4D49CBEBFD7B}"/>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9D6F172-82C1-BEFA-E6B2-72568A6FCE19}"/>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4" name="Footer Placeholder 3">
            <a:extLst>
              <a:ext uri="{FF2B5EF4-FFF2-40B4-BE49-F238E27FC236}">
                <a16:creationId xmlns:a16="http://schemas.microsoft.com/office/drawing/2014/main" id="{4BDDC381-F921-F18B-652A-3AD4F64A95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5FDED71-6B99-266E-DE07-6EC7F2361835}"/>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1171345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7DD195-FAFB-D2C9-B56D-DE809863A84C}"/>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3" name="Footer Placeholder 2">
            <a:extLst>
              <a:ext uri="{FF2B5EF4-FFF2-40B4-BE49-F238E27FC236}">
                <a16:creationId xmlns:a16="http://schemas.microsoft.com/office/drawing/2014/main" id="{09696290-3AB7-70DD-ED2E-38595AF60CA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6F9562-727F-7471-9EDC-4FC206987D4B}"/>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3842992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F9CAC-CE29-6E7A-E4B4-70241EDED43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6B1C366-8EFF-BC0C-BD1B-999B73D95E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653BD1C7-3F1E-49DB-DA01-E96ABEF0D6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38A5DC1-E7A5-FAD6-A99F-D011A10EF164}"/>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6" name="Footer Placeholder 5">
            <a:extLst>
              <a:ext uri="{FF2B5EF4-FFF2-40B4-BE49-F238E27FC236}">
                <a16:creationId xmlns:a16="http://schemas.microsoft.com/office/drawing/2014/main" id="{7BBED8EE-F7ED-BA59-84AD-9670EFB7DC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7BDC93-394D-4E74-41C8-CF35905A21AE}"/>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3432772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7A06F-8A2D-A2F8-EDEF-64D0A926E98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CF0B2D89-3DA5-4EAD-AE57-D1ABB73AF4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8974DB-3A2C-3C46-96EC-8EAEF3D239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469C7E3-CAF1-8ECD-DB90-4AF909B5C857}"/>
              </a:ext>
            </a:extLst>
          </p:cNvPr>
          <p:cNvSpPr>
            <a:spLocks noGrp="1"/>
          </p:cNvSpPr>
          <p:nvPr>
            <p:ph type="dt" sz="half" idx="10"/>
          </p:nvPr>
        </p:nvSpPr>
        <p:spPr/>
        <p:txBody>
          <a:bodyPr/>
          <a:lstStyle/>
          <a:p>
            <a:fld id="{844CE6AC-2DCE-CC4C-A7BD-9273646819B1}" type="datetimeFigureOut">
              <a:rPr lang="en-US" smtClean="0"/>
              <a:t>2/7/23</a:t>
            </a:fld>
            <a:endParaRPr lang="en-US"/>
          </a:p>
        </p:txBody>
      </p:sp>
      <p:sp>
        <p:nvSpPr>
          <p:cNvPr id="6" name="Footer Placeholder 5">
            <a:extLst>
              <a:ext uri="{FF2B5EF4-FFF2-40B4-BE49-F238E27FC236}">
                <a16:creationId xmlns:a16="http://schemas.microsoft.com/office/drawing/2014/main" id="{0AAE812E-44B9-FE42-E029-8A3CFF42FB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604AF1-1BF5-A78C-0194-C3CEF7218E2B}"/>
              </a:ext>
            </a:extLst>
          </p:cNvPr>
          <p:cNvSpPr>
            <a:spLocks noGrp="1"/>
          </p:cNvSpPr>
          <p:nvPr>
            <p:ph type="sldNum" sz="quarter" idx="12"/>
          </p:nvPr>
        </p:nvSpPr>
        <p:spPr/>
        <p:txBody>
          <a:bodyPr/>
          <a:lstStyle/>
          <a:p>
            <a:fld id="{C7C82461-3D79-D749-AF36-0856348D6E8C}" type="slidenum">
              <a:rPr lang="en-US" smtClean="0"/>
              <a:t>‹#›</a:t>
            </a:fld>
            <a:endParaRPr lang="en-US"/>
          </a:p>
        </p:txBody>
      </p:sp>
    </p:spTree>
    <p:extLst>
      <p:ext uri="{BB962C8B-B14F-4D97-AF65-F5344CB8AC3E}">
        <p14:creationId xmlns:p14="http://schemas.microsoft.com/office/powerpoint/2010/main" val="3619005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3E1825-D68E-5B00-1E8D-C669751A46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4AB1150-49FA-2ECC-11B6-59826EEF7F4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8264DEF-6D68-2220-0D50-B7440CEBE4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4CE6AC-2DCE-CC4C-A7BD-9273646819B1}" type="datetimeFigureOut">
              <a:rPr lang="en-US" smtClean="0"/>
              <a:t>2/7/23</a:t>
            </a:fld>
            <a:endParaRPr lang="en-US"/>
          </a:p>
        </p:txBody>
      </p:sp>
      <p:sp>
        <p:nvSpPr>
          <p:cNvPr id="5" name="Footer Placeholder 4">
            <a:extLst>
              <a:ext uri="{FF2B5EF4-FFF2-40B4-BE49-F238E27FC236}">
                <a16:creationId xmlns:a16="http://schemas.microsoft.com/office/drawing/2014/main" id="{DFB42D48-38E8-9A57-198C-4CABC68A09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EEA6161-CDC1-760A-8CCE-5B03F40FA4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C82461-3D79-D749-AF36-0856348D6E8C}" type="slidenum">
              <a:rPr lang="en-US" smtClean="0"/>
              <a:t>‹#›</a:t>
            </a:fld>
            <a:endParaRPr lang="en-US"/>
          </a:p>
        </p:txBody>
      </p:sp>
    </p:spTree>
    <p:extLst>
      <p:ext uri="{BB962C8B-B14F-4D97-AF65-F5344CB8AC3E}">
        <p14:creationId xmlns:p14="http://schemas.microsoft.com/office/powerpoint/2010/main" val="13389118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hyperlink" Target="https://www.ghc.nhs.uk/our-teams-and-services/school-nursing/awareness-sessions/" TargetMode="External"/><Relationship Id="rId2" Type="http://schemas.openxmlformats.org/officeDocument/2006/relationships/hyperlink" Target="https://www.e-lfh.org.uk/programmes/children-and-young-peoples-asthma/"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1">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F3A6BF-3DE2-55A3-84E9-A31CE0A14E32}"/>
              </a:ext>
            </a:extLst>
          </p:cNvPr>
          <p:cNvSpPr>
            <a:spLocks noGrp="1"/>
          </p:cNvSpPr>
          <p:nvPr>
            <p:ph type="ctrTitle"/>
          </p:nvPr>
        </p:nvSpPr>
        <p:spPr>
          <a:xfrm>
            <a:off x="5297762" y="640080"/>
            <a:ext cx="6251110" cy="3566160"/>
          </a:xfrm>
        </p:spPr>
        <p:txBody>
          <a:bodyPr anchor="b">
            <a:normAutofit/>
          </a:bodyPr>
          <a:lstStyle/>
          <a:p>
            <a:pPr algn="l"/>
            <a:r>
              <a:rPr lang="en-US" sz="5400"/>
              <a:t>Asthma friendly schools Gloucestershire</a:t>
            </a:r>
          </a:p>
        </p:txBody>
      </p:sp>
      <p:sp>
        <p:nvSpPr>
          <p:cNvPr id="3" name="Subtitle 2">
            <a:extLst>
              <a:ext uri="{FF2B5EF4-FFF2-40B4-BE49-F238E27FC236}">
                <a16:creationId xmlns:a16="http://schemas.microsoft.com/office/drawing/2014/main" id="{A4515913-A8A6-62DC-2288-3438AF4CDBB3}"/>
              </a:ext>
            </a:extLst>
          </p:cNvPr>
          <p:cNvSpPr>
            <a:spLocks noGrp="1"/>
          </p:cNvSpPr>
          <p:nvPr>
            <p:ph type="subTitle" idx="1"/>
          </p:nvPr>
        </p:nvSpPr>
        <p:spPr>
          <a:xfrm>
            <a:off x="5297760" y="4636008"/>
            <a:ext cx="6251111" cy="1572768"/>
          </a:xfrm>
        </p:spPr>
        <p:txBody>
          <a:bodyPr>
            <a:normAutofit/>
          </a:bodyPr>
          <a:lstStyle/>
          <a:p>
            <a:pPr algn="l"/>
            <a:r>
              <a:rPr lang="en-US" dirty="0"/>
              <a:t>Carol Stonham MBE</a:t>
            </a:r>
          </a:p>
          <a:p>
            <a:pPr algn="l"/>
            <a:r>
              <a:rPr lang="en-US" dirty="0" err="1"/>
              <a:t>RN,MSc</a:t>
            </a:r>
            <a:r>
              <a:rPr lang="en-US" dirty="0"/>
              <a:t>, Queen’s Nurse</a:t>
            </a:r>
          </a:p>
          <a:p>
            <a:pPr algn="l"/>
            <a:r>
              <a:rPr lang="en-US" dirty="0"/>
              <a:t>CYP Asthma clinical Lead NHS </a:t>
            </a:r>
            <a:r>
              <a:rPr lang="en-US" dirty="0" err="1"/>
              <a:t>Glos</a:t>
            </a:r>
            <a:r>
              <a:rPr lang="en-US" dirty="0"/>
              <a:t> ICB</a:t>
            </a:r>
          </a:p>
        </p:txBody>
      </p:sp>
      <p:pic>
        <p:nvPicPr>
          <p:cNvPr id="26" name="Picture 17">
            <a:extLst>
              <a:ext uri="{FF2B5EF4-FFF2-40B4-BE49-F238E27FC236}">
                <a16:creationId xmlns:a16="http://schemas.microsoft.com/office/drawing/2014/main" id="{831AB97F-D0B6-0A22-6AB2-AC0566C813C8}"/>
              </a:ext>
            </a:extLst>
          </p:cNvPr>
          <p:cNvPicPr>
            <a:picLocks noChangeAspect="1"/>
          </p:cNvPicPr>
          <p:nvPr/>
        </p:nvPicPr>
        <p:blipFill rotWithShape="1">
          <a:blip r:embed="rId2"/>
          <a:srcRect l="34315" r="11356"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24"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9531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3C059-7067-42C0-AA5A-EFA8FA5923D2}"/>
              </a:ext>
            </a:extLst>
          </p:cNvPr>
          <p:cNvSpPr>
            <a:spLocks noGrp="1"/>
          </p:cNvSpPr>
          <p:nvPr>
            <p:ph type="title"/>
          </p:nvPr>
        </p:nvSpPr>
        <p:spPr>
          <a:xfrm>
            <a:off x="1897159" y="372139"/>
            <a:ext cx="7726347" cy="831850"/>
          </a:xfrm>
        </p:spPr>
        <p:txBody>
          <a:bodyPr>
            <a:normAutofit/>
          </a:bodyPr>
          <a:lstStyle/>
          <a:p>
            <a:r>
              <a:rPr lang="en-GB" sz="2800" dirty="0"/>
              <a:t>Background and Context</a:t>
            </a:r>
          </a:p>
        </p:txBody>
      </p:sp>
      <p:sp>
        <p:nvSpPr>
          <p:cNvPr id="3" name="TextBox 2">
            <a:extLst>
              <a:ext uri="{FF2B5EF4-FFF2-40B4-BE49-F238E27FC236}">
                <a16:creationId xmlns:a16="http://schemas.microsoft.com/office/drawing/2014/main" id="{015695C5-7274-49E3-9555-50530D6FE247}"/>
              </a:ext>
            </a:extLst>
          </p:cNvPr>
          <p:cNvSpPr txBox="1"/>
          <p:nvPr/>
        </p:nvSpPr>
        <p:spPr>
          <a:xfrm>
            <a:off x="1897160" y="1048355"/>
            <a:ext cx="8203803" cy="914400"/>
          </a:xfrm>
          <a:prstGeom prst="rect">
            <a:avLst/>
          </a:prstGeom>
          <a:noFill/>
        </p:spPr>
        <p:txBody>
          <a:bodyPr wrap="square" rtlCol="0">
            <a:noAutofit/>
          </a:bodyPr>
          <a:lstStyle/>
          <a:p>
            <a:endParaRPr lang="en-GB" sz="1600"/>
          </a:p>
        </p:txBody>
      </p:sp>
      <p:sp>
        <p:nvSpPr>
          <p:cNvPr id="5" name="TextBox 4">
            <a:extLst>
              <a:ext uri="{FF2B5EF4-FFF2-40B4-BE49-F238E27FC236}">
                <a16:creationId xmlns:a16="http://schemas.microsoft.com/office/drawing/2014/main" id="{DD7312AD-2109-4087-84E8-CF6564D368B7}"/>
              </a:ext>
            </a:extLst>
          </p:cNvPr>
          <p:cNvSpPr txBox="1"/>
          <p:nvPr/>
        </p:nvSpPr>
        <p:spPr>
          <a:xfrm>
            <a:off x="2200951" y="4776187"/>
            <a:ext cx="7790099" cy="1118586"/>
          </a:xfrm>
          <a:prstGeom prst="rect">
            <a:avLst/>
          </a:prstGeom>
          <a:solidFill>
            <a:schemeClr val="accent4"/>
          </a:solidFill>
        </p:spPr>
        <p:txBody>
          <a:bodyPr wrap="square" rtlCol="0">
            <a:noAutofit/>
          </a:bodyPr>
          <a:lstStyle/>
          <a:p>
            <a:pPr algn="ctr"/>
            <a:r>
              <a:rPr lang="en-GB" sz="1600" dirty="0">
                <a:solidFill>
                  <a:schemeClr val="bg1"/>
                </a:solidFill>
              </a:rPr>
              <a:t>NHS England and NHS Improvement’s  ambition is to prevent deaths, reduce the number of admissions and improve the quality of life of CYP with asthma. This will be achieved by improving the accuracy of diagnosis and taking a whole system approach to managing asthma. </a:t>
            </a:r>
          </a:p>
          <a:p>
            <a:pPr algn="ctr"/>
            <a:endParaRPr lang="en-GB" sz="1600" dirty="0">
              <a:solidFill>
                <a:schemeClr val="bg1"/>
              </a:solidFill>
            </a:endParaRPr>
          </a:p>
        </p:txBody>
      </p:sp>
      <p:sp>
        <p:nvSpPr>
          <p:cNvPr id="6" name="TextBox 5">
            <a:extLst>
              <a:ext uri="{FF2B5EF4-FFF2-40B4-BE49-F238E27FC236}">
                <a16:creationId xmlns:a16="http://schemas.microsoft.com/office/drawing/2014/main" id="{9D56F740-CBA8-425F-B299-613AD2258C69}"/>
              </a:ext>
            </a:extLst>
          </p:cNvPr>
          <p:cNvSpPr txBox="1"/>
          <p:nvPr/>
        </p:nvSpPr>
        <p:spPr>
          <a:xfrm>
            <a:off x="1897159" y="1354360"/>
            <a:ext cx="4016966" cy="3057843"/>
          </a:xfrm>
          <a:prstGeom prst="rect">
            <a:avLst/>
          </a:prstGeom>
          <a:noFill/>
          <a:ln w="28575">
            <a:solidFill>
              <a:srgbClr val="A3297A"/>
            </a:solidFill>
          </a:ln>
        </p:spPr>
        <p:txBody>
          <a:bodyPr wrap="square" rtlCol="0">
            <a:noAutofit/>
          </a:bodyPr>
          <a:lstStyle/>
          <a:p>
            <a:r>
              <a:rPr lang="en-GB" sz="1400"/>
              <a:t>Asthma is the most common long-term medical condition in children in the UK, with around 1 in 11 children and young people in the UK having asthma</a:t>
            </a:r>
            <a:r>
              <a:rPr lang="en-GB" sz="1400" baseline="30000"/>
              <a:t>1</a:t>
            </a:r>
            <a:r>
              <a:rPr lang="en-GB" sz="1400"/>
              <a:t>. </a:t>
            </a:r>
          </a:p>
          <a:p>
            <a:endParaRPr lang="en-GB" sz="1400"/>
          </a:p>
          <a:p>
            <a:r>
              <a:rPr lang="en-GB" sz="1400"/>
              <a:t>The UK has one of the highest prevalence, emergency admission and death rates for childhood asthma in Europe</a:t>
            </a:r>
            <a:r>
              <a:rPr lang="en-GB" sz="1400" baseline="30000"/>
              <a:t>2</a:t>
            </a:r>
            <a:r>
              <a:rPr lang="en-GB" sz="1400"/>
              <a:t>. </a:t>
            </a:r>
            <a:r>
              <a:rPr lang="en-GB" sz="1400" b="1">
                <a:solidFill>
                  <a:srgbClr val="000000"/>
                </a:solidFill>
                <a:latin typeface="Arial" panose="020B0604020202020204" pitchFamily="34" charset="0"/>
              </a:rPr>
              <a:t>13 </a:t>
            </a:r>
            <a:r>
              <a:rPr lang="en-GB" sz="1400">
                <a:solidFill>
                  <a:srgbClr val="000000"/>
                </a:solidFill>
                <a:latin typeface="Arial" panose="020B0604020202020204" pitchFamily="34" charset="0"/>
              </a:rPr>
              <a:t>children (0-14</a:t>
            </a:r>
            <a:r>
              <a:rPr lang="en-GB" sz="1400" b="1">
                <a:solidFill>
                  <a:srgbClr val="000000"/>
                </a:solidFill>
                <a:latin typeface="Arial" panose="020B0604020202020204" pitchFamily="34" charset="0"/>
              </a:rPr>
              <a:t> </a:t>
            </a:r>
            <a:r>
              <a:rPr lang="en-GB" sz="1400">
                <a:solidFill>
                  <a:srgbClr val="000000"/>
                </a:solidFill>
                <a:latin typeface="Arial" panose="020B0604020202020204" pitchFamily="34" charset="0"/>
              </a:rPr>
              <a:t>years) died from asthma in 2016</a:t>
            </a:r>
            <a:r>
              <a:rPr lang="en-GB" sz="1400" baseline="30000">
                <a:solidFill>
                  <a:srgbClr val="000000"/>
                </a:solidFill>
                <a:latin typeface="Arial" panose="020B0604020202020204" pitchFamily="34" charset="0"/>
              </a:rPr>
              <a:t>1</a:t>
            </a:r>
            <a:r>
              <a:rPr lang="en-GB" sz="1400">
                <a:solidFill>
                  <a:srgbClr val="000000"/>
                </a:solidFill>
                <a:latin typeface="Arial" panose="020B0604020202020204" pitchFamily="34" charset="0"/>
              </a:rPr>
              <a:t>.</a:t>
            </a:r>
            <a:endParaRPr lang="en-GB" sz="1400"/>
          </a:p>
          <a:p>
            <a:endParaRPr lang="en-GB" sz="1400"/>
          </a:p>
          <a:p>
            <a:r>
              <a:rPr lang="en-GB" sz="1400"/>
              <a:t>In 2017, NICE published a set of guidelines for the Diagnosis and Monitoring of Asthma and also for the Management of Stable Asthma in Adults and Children</a:t>
            </a:r>
            <a:r>
              <a:rPr lang="en-GB" sz="1400" baseline="30000"/>
              <a:t>4</a:t>
            </a:r>
            <a:r>
              <a:rPr lang="en-GB" sz="1400"/>
              <a:t>. </a:t>
            </a:r>
          </a:p>
          <a:p>
            <a:endParaRPr lang="en-GB" sz="1400"/>
          </a:p>
          <a:p>
            <a:endParaRPr lang="en-GB" sz="1400"/>
          </a:p>
          <a:p>
            <a:endParaRPr lang="en-GB" sz="1400"/>
          </a:p>
        </p:txBody>
      </p:sp>
      <p:sp>
        <p:nvSpPr>
          <p:cNvPr id="24" name="TextBox 23">
            <a:extLst>
              <a:ext uri="{FF2B5EF4-FFF2-40B4-BE49-F238E27FC236}">
                <a16:creationId xmlns:a16="http://schemas.microsoft.com/office/drawing/2014/main" id="{915AFBE8-051C-44BA-BDD2-74E26B21F2AF}"/>
              </a:ext>
            </a:extLst>
          </p:cNvPr>
          <p:cNvSpPr txBox="1"/>
          <p:nvPr/>
        </p:nvSpPr>
        <p:spPr>
          <a:xfrm>
            <a:off x="6216062" y="1354361"/>
            <a:ext cx="4016965" cy="3057841"/>
          </a:xfrm>
          <a:prstGeom prst="rect">
            <a:avLst/>
          </a:prstGeom>
          <a:noFill/>
          <a:ln w="28575">
            <a:solidFill>
              <a:srgbClr val="A3297A"/>
            </a:solidFill>
          </a:ln>
        </p:spPr>
        <p:txBody>
          <a:bodyPr wrap="square" rtlCol="0">
            <a:noAutofit/>
          </a:bodyPr>
          <a:lstStyle/>
          <a:p>
            <a:r>
              <a:rPr lang="en-GB" sz="1400" dirty="0"/>
              <a:t>In 2015, The Royal College of Physicians, looked at deaths from asthma between 1 February 2012 and 31 January 2013 in the UK and published a report (NRAD4)</a:t>
            </a:r>
            <a:r>
              <a:rPr lang="en-GB" sz="1400" baseline="30000" dirty="0"/>
              <a:t>3</a:t>
            </a:r>
            <a:r>
              <a:rPr lang="en-GB" sz="1400" dirty="0"/>
              <a:t> identifying a number of </a:t>
            </a:r>
            <a:r>
              <a:rPr lang="en-GB" sz="1400" b="1" dirty="0"/>
              <a:t>avoidable factors </a:t>
            </a:r>
            <a:r>
              <a:rPr lang="en-GB" sz="1400" dirty="0"/>
              <a:t>in relation to both the care people received and the recognition of risk and avoidable factors relating to patients and their families and environments. </a:t>
            </a:r>
          </a:p>
          <a:p>
            <a:endParaRPr lang="en-GB" sz="1400" dirty="0"/>
          </a:p>
          <a:p>
            <a:r>
              <a:rPr lang="en-GB" sz="1400" b="1" dirty="0"/>
              <a:t>This report found that two in three deaths from asthma could be prevented. </a:t>
            </a:r>
          </a:p>
          <a:p>
            <a:endParaRPr lang="en-GB" sz="1400" dirty="0"/>
          </a:p>
          <a:p>
            <a:endParaRPr lang="en-GB" sz="1400" dirty="0"/>
          </a:p>
        </p:txBody>
      </p:sp>
      <p:sp>
        <p:nvSpPr>
          <p:cNvPr id="4" name="TextBox 3">
            <a:extLst>
              <a:ext uri="{FF2B5EF4-FFF2-40B4-BE49-F238E27FC236}">
                <a16:creationId xmlns:a16="http://schemas.microsoft.com/office/drawing/2014/main" id="{057F44ED-2F15-4A27-930F-BA8A26A9045A}"/>
              </a:ext>
            </a:extLst>
          </p:cNvPr>
          <p:cNvSpPr txBox="1"/>
          <p:nvPr/>
        </p:nvSpPr>
        <p:spPr>
          <a:xfrm>
            <a:off x="1772574" y="6258757"/>
            <a:ext cx="8328388" cy="381740"/>
          </a:xfrm>
          <a:prstGeom prst="rect">
            <a:avLst/>
          </a:prstGeom>
          <a:noFill/>
        </p:spPr>
        <p:txBody>
          <a:bodyPr wrap="square" rtlCol="0">
            <a:noAutofit/>
          </a:bodyPr>
          <a:lstStyle/>
          <a:p>
            <a:r>
              <a:rPr lang="en-GB" sz="1000"/>
              <a:t>Sources: </a:t>
            </a:r>
            <a:r>
              <a:rPr lang="en-GB" sz="1000" baseline="30000"/>
              <a:t>1</a:t>
            </a:r>
            <a:r>
              <a:rPr lang="en-GB" sz="1000"/>
              <a:t>https://www.asthma.org.uk/about/media/facts-and-statistics/, </a:t>
            </a:r>
            <a:r>
              <a:rPr lang="en-GB" sz="1000" baseline="30000"/>
              <a:t>2</a:t>
            </a:r>
            <a:r>
              <a:rPr lang="en-GB" sz="1000">
                <a:latin typeface="Arial" panose="020B0604020202020204" pitchFamily="34" charset="0"/>
                <a:ea typeface="Times New Roman" panose="02020603050405020304" pitchFamily="18" charset="0"/>
                <a:cs typeface="Times New Roman" panose="02020603050405020304" pitchFamily="18" charset="0"/>
              </a:rPr>
              <a:t>https://www.england.nhs.uk/2019/09/nhs-warning-to-parents-as-asthma-season-hits/, </a:t>
            </a:r>
            <a:r>
              <a:rPr lang="en-GB" sz="1000" baseline="30000">
                <a:latin typeface="Arial" panose="020B0604020202020204" pitchFamily="34" charset="0"/>
                <a:ea typeface="Times New Roman" panose="02020603050405020304" pitchFamily="18" charset="0"/>
                <a:cs typeface="Times New Roman" panose="02020603050405020304" pitchFamily="18" charset="0"/>
              </a:rPr>
              <a:t>3</a:t>
            </a:r>
            <a:r>
              <a:rPr lang="en-GB" sz="1000">
                <a:latin typeface="Arial" panose="020B0604020202020204" pitchFamily="34" charset="0"/>
                <a:ea typeface="Times New Roman" panose="02020603050405020304" pitchFamily="18" charset="0"/>
                <a:cs typeface="Times New Roman" panose="02020603050405020304" pitchFamily="18" charset="0"/>
              </a:rPr>
              <a:t>Royal College of Physicians. Why Asthma Still Kills 2014, </a:t>
            </a:r>
            <a:r>
              <a:rPr lang="en-GB" sz="1000" baseline="30000">
                <a:latin typeface="Arial" panose="020B0604020202020204" pitchFamily="34" charset="0"/>
                <a:ea typeface="Times New Roman" panose="02020603050405020304" pitchFamily="18" charset="0"/>
                <a:cs typeface="Times New Roman" panose="02020603050405020304" pitchFamily="18" charset="0"/>
              </a:rPr>
              <a:t>4</a:t>
            </a:r>
            <a:r>
              <a:rPr lang="en-GB" sz="1000">
                <a:latin typeface="Arial" panose="020B0604020202020204" pitchFamily="34" charset="0"/>
                <a:ea typeface="Times New Roman" panose="02020603050405020304" pitchFamily="18" charset="0"/>
                <a:cs typeface="Times New Roman" panose="02020603050405020304" pitchFamily="18" charset="0"/>
              </a:rPr>
              <a:t>https://www.nice.org.uk/guidance/ng80</a:t>
            </a:r>
            <a:endParaRPr lang="en-GB" sz="1000" baseline="30000"/>
          </a:p>
        </p:txBody>
      </p:sp>
    </p:spTree>
    <p:extLst>
      <p:ext uri="{BB962C8B-B14F-4D97-AF65-F5344CB8AC3E}">
        <p14:creationId xmlns:p14="http://schemas.microsoft.com/office/powerpoint/2010/main" val="4205221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Flowchart: Document 13">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2F4DA-1A06-B985-A196-DF985A1682AD}"/>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The background</a:t>
            </a:r>
          </a:p>
        </p:txBody>
      </p:sp>
      <p:pic>
        <p:nvPicPr>
          <p:cNvPr id="9" name="Content Placeholder 8" descr="Chart, bar chart&#10;&#10;Description automatically generated">
            <a:extLst>
              <a:ext uri="{FF2B5EF4-FFF2-40B4-BE49-F238E27FC236}">
                <a16:creationId xmlns:a16="http://schemas.microsoft.com/office/drawing/2014/main" id="{47133505-B80E-3C5F-268C-085585C224FF}"/>
              </a:ext>
            </a:extLst>
          </p:cNvPr>
          <p:cNvPicPr>
            <a:picLocks noGrp="1" noChangeAspect="1"/>
          </p:cNvPicPr>
          <p:nvPr>
            <p:ph idx="1"/>
          </p:nvPr>
        </p:nvPicPr>
        <p:blipFill>
          <a:blip r:embed="rId2"/>
          <a:stretch>
            <a:fillRect/>
          </a:stretch>
        </p:blipFill>
        <p:spPr>
          <a:xfrm>
            <a:off x="4207933" y="775191"/>
            <a:ext cx="7347537" cy="5308593"/>
          </a:xfrm>
          <a:prstGeom prst="rect">
            <a:avLst/>
          </a:prstGeom>
        </p:spPr>
      </p:pic>
    </p:spTree>
    <p:extLst>
      <p:ext uri="{BB962C8B-B14F-4D97-AF65-F5344CB8AC3E}">
        <p14:creationId xmlns:p14="http://schemas.microsoft.com/office/powerpoint/2010/main" val="1415317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2" name="Rectangle 1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0E03ADE-3C2B-59E5-210E-012253686E60}"/>
              </a:ext>
            </a:extLst>
          </p:cNvPr>
          <p:cNvSpPr>
            <a:spLocks noGrp="1"/>
          </p:cNvSpPr>
          <p:nvPr>
            <p:ph type="title"/>
          </p:nvPr>
        </p:nvSpPr>
        <p:spPr>
          <a:xfrm>
            <a:off x="1043631" y="809898"/>
            <a:ext cx="10173010" cy="1554480"/>
          </a:xfrm>
        </p:spPr>
        <p:txBody>
          <a:bodyPr anchor="ctr">
            <a:normAutofit/>
          </a:bodyPr>
          <a:lstStyle/>
          <a:p>
            <a:r>
              <a:rPr lang="en-US" sz="4800"/>
              <a:t>What is an asthma friendly school?</a:t>
            </a:r>
          </a:p>
        </p:txBody>
      </p:sp>
      <p:cxnSp>
        <p:nvCxnSpPr>
          <p:cNvPr id="18" name="Straight Connector 17">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1AF2258A-828B-DE13-7B2D-6B8B9DB1898F}"/>
              </a:ext>
            </a:extLst>
          </p:cNvPr>
          <p:cNvGraphicFramePr>
            <a:graphicFrameLocks noGrp="1"/>
          </p:cNvGraphicFramePr>
          <p:nvPr>
            <p:ph idx="1"/>
            <p:extLst>
              <p:ext uri="{D42A27DB-BD31-4B8C-83A1-F6EECF244321}">
                <p14:modId xmlns:p14="http://schemas.microsoft.com/office/powerpoint/2010/main" val="4209282046"/>
              </p:ext>
            </p:extLst>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72229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659FDB4-FCBE-4A89-B46D-43D4FA5446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313"/>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A1C101C8-F48F-DC7E-56E2-CD16C5645DEA}"/>
              </a:ext>
            </a:extLst>
          </p:cNvPr>
          <p:cNvSpPr>
            <a:spLocks noGrp="1"/>
          </p:cNvSpPr>
          <p:nvPr>
            <p:ph type="title"/>
          </p:nvPr>
        </p:nvSpPr>
        <p:spPr>
          <a:xfrm>
            <a:off x="479394" y="1070800"/>
            <a:ext cx="3939688" cy="5583126"/>
          </a:xfrm>
        </p:spPr>
        <p:txBody>
          <a:bodyPr>
            <a:normAutofit/>
          </a:bodyPr>
          <a:lstStyle/>
          <a:p>
            <a:pPr algn="r"/>
            <a:r>
              <a:rPr lang="en-US" dirty="0"/>
              <a:t>Implementation of:</a:t>
            </a:r>
            <a:endParaRPr lang="en-US"/>
          </a:p>
        </p:txBody>
      </p:sp>
      <p:cxnSp>
        <p:nvCxnSpPr>
          <p:cNvPr id="11" name="Straight Connector 10">
            <a:extLst>
              <a:ext uri="{FF2B5EF4-FFF2-40B4-BE49-F238E27FC236}">
                <a16:creationId xmlns:a16="http://schemas.microsoft.com/office/drawing/2014/main" id="{C8F51B3F-8331-4E4A-AE96-D47B1006EEA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28053" y="1132114"/>
            <a:ext cx="0" cy="5717573"/>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89FBFEAE-1C60-DD4D-F73D-D9F292D2C15C}"/>
              </a:ext>
            </a:extLst>
          </p:cNvPr>
          <p:cNvGraphicFramePr>
            <a:graphicFrameLocks noGrp="1"/>
          </p:cNvGraphicFramePr>
          <p:nvPr>
            <p:ph idx="1"/>
            <p:extLst>
              <p:ext uri="{D42A27DB-BD31-4B8C-83A1-F6EECF244321}">
                <p14:modId xmlns:p14="http://schemas.microsoft.com/office/powerpoint/2010/main" val="3513057768"/>
              </p:ext>
            </p:extLst>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1332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7">
            <a:extLst>
              <a:ext uri="{FF2B5EF4-FFF2-40B4-BE49-F238E27FC236}">
                <a16:creationId xmlns:a16="http://schemas.microsoft.com/office/drawing/2014/main" id="{C2554CA6-288E-4202-BC52-2E5A8F0C0A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0E19EB-4287-041B-AE5E-890183FDA2D1}"/>
              </a:ext>
            </a:extLst>
          </p:cNvPr>
          <p:cNvSpPr>
            <a:spLocks noGrp="1"/>
          </p:cNvSpPr>
          <p:nvPr>
            <p:ph type="title"/>
          </p:nvPr>
        </p:nvSpPr>
        <p:spPr>
          <a:xfrm>
            <a:off x="1171074" y="1396686"/>
            <a:ext cx="3240506" cy="4064628"/>
          </a:xfrm>
        </p:spPr>
        <p:txBody>
          <a:bodyPr>
            <a:normAutofit/>
          </a:bodyPr>
          <a:lstStyle/>
          <a:p>
            <a:r>
              <a:rPr lang="en-US">
                <a:solidFill>
                  <a:srgbClr val="FFFFFF"/>
                </a:solidFill>
              </a:rPr>
              <a:t>Training</a:t>
            </a:r>
          </a:p>
        </p:txBody>
      </p:sp>
      <p:sp>
        <p:nvSpPr>
          <p:cNvPr id="12" name="Arc 11">
            <a:extLst>
              <a:ext uri="{FF2B5EF4-FFF2-40B4-BE49-F238E27FC236}">
                <a16:creationId xmlns:a16="http://schemas.microsoft.com/office/drawing/2014/main" id="{5B7778FC-632E-4DCA-A7CB-0D7731CCF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FA23A907-97FB-4A8F-880A-DD77401C42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Content Placeholder 2">
            <a:extLst>
              <a:ext uri="{FF2B5EF4-FFF2-40B4-BE49-F238E27FC236}">
                <a16:creationId xmlns:a16="http://schemas.microsoft.com/office/drawing/2014/main" id="{17CCEEFA-0CCA-113A-6149-32F724C856AE}"/>
              </a:ext>
            </a:extLst>
          </p:cNvPr>
          <p:cNvSpPr>
            <a:spLocks noGrp="1"/>
          </p:cNvSpPr>
          <p:nvPr>
            <p:ph idx="1"/>
          </p:nvPr>
        </p:nvSpPr>
        <p:spPr>
          <a:xfrm>
            <a:off x="5370153" y="1526033"/>
            <a:ext cx="5536397" cy="3935281"/>
          </a:xfrm>
        </p:spPr>
        <p:txBody>
          <a:bodyPr>
            <a:normAutofit/>
          </a:bodyPr>
          <a:lstStyle/>
          <a:p>
            <a:r>
              <a:rPr lang="en-US" sz="2600"/>
              <a:t>Face to face </a:t>
            </a:r>
          </a:p>
          <a:p>
            <a:r>
              <a:rPr lang="en-US" sz="2600"/>
              <a:t>Completion of online module during inset day – 1 hour available at </a:t>
            </a:r>
            <a:r>
              <a:rPr lang="en-US" sz="2600">
                <a:hlinkClick r:id="rId2"/>
              </a:rPr>
              <a:t>https://www.e-lfh.org.uk/programmes/children-and-young-peoples-asthma/</a:t>
            </a:r>
            <a:r>
              <a:rPr lang="en-US" sz="2600"/>
              <a:t> (Tier 1) </a:t>
            </a:r>
          </a:p>
          <a:p>
            <a:r>
              <a:rPr lang="en-US" sz="2600"/>
              <a:t>Local training available from </a:t>
            </a:r>
            <a:r>
              <a:rPr lang="en-US" sz="2600">
                <a:hlinkClick r:id="rId3"/>
              </a:rPr>
              <a:t>https://www.ghc.nhs.uk/our-teams-and-services/school-nursing/awareness-sessions/</a:t>
            </a:r>
            <a:endParaRPr lang="en-US" sz="2600"/>
          </a:p>
          <a:p>
            <a:endParaRPr lang="en-US" sz="2600"/>
          </a:p>
        </p:txBody>
      </p:sp>
    </p:spTree>
    <p:extLst>
      <p:ext uri="{BB962C8B-B14F-4D97-AF65-F5344CB8AC3E}">
        <p14:creationId xmlns:p14="http://schemas.microsoft.com/office/powerpoint/2010/main" val="2839972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89BF07-1ABF-B871-E55C-3AFBD36B892D}"/>
              </a:ext>
            </a:extLst>
          </p:cNvPr>
          <p:cNvSpPr>
            <a:spLocks noGrp="1"/>
          </p:cNvSpPr>
          <p:nvPr>
            <p:ph type="title"/>
          </p:nvPr>
        </p:nvSpPr>
        <p:spPr>
          <a:xfrm>
            <a:off x="635000" y="640823"/>
            <a:ext cx="3418659" cy="5583148"/>
          </a:xfrm>
        </p:spPr>
        <p:txBody>
          <a:bodyPr anchor="ctr">
            <a:normAutofit/>
          </a:bodyPr>
          <a:lstStyle/>
          <a:p>
            <a:r>
              <a:rPr lang="en-US" sz="5400"/>
              <a:t>Example checklist</a:t>
            </a:r>
          </a:p>
        </p:txBody>
      </p:sp>
      <p:sp>
        <p:nvSpPr>
          <p:cNvPr id="11"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ontent Placeholder 2">
            <a:extLst>
              <a:ext uri="{FF2B5EF4-FFF2-40B4-BE49-F238E27FC236}">
                <a16:creationId xmlns:a16="http://schemas.microsoft.com/office/drawing/2014/main" id="{E4F70A1B-28C8-7E1E-E5FF-D8839EB30C85}"/>
              </a:ext>
            </a:extLst>
          </p:cNvPr>
          <p:cNvGraphicFramePr>
            <a:graphicFrameLocks noGrp="1"/>
          </p:cNvGraphicFramePr>
          <p:nvPr>
            <p:ph idx="1"/>
            <p:extLst>
              <p:ext uri="{D42A27DB-BD31-4B8C-83A1-F6EECF244321}">
                <p14:modId xmlns:p14="http://schemas.microsoft.com/office/powerpoint/2010/main" val="747677877"/>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8828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46" name="Rectangle 1045">
            <a:extLst>
              <a:ext uri="{FF2B5EF4-FFF2-40B4-BE49-F238E27FC236}">
                <a16:creationId xmlns:a16="http://schemas.microsoft.com/office/drawing/2014/main" id="{058A14AF-9FB5-4CC7-BA35-E8E85D3E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BBE9297-7D7E-8563-162B-050E455A54C6}"/>
              </a:ext>
            </a:extLst>
          </p:cNvPr>
          <p:cNvSpPr>
            <a:spLocks noGrp="1"/>
          </p:cNvSpPr>
          <p:nvPr>
            <p:ph type="title"/>
          </p:nvPr>
        </p:nvSpPr>
        <p:spPr>
          <a:xfrm>
            <a:off x="793662" y="386930"/>
            <a:ext cx="10066122" cy="1298448"/>
          </a:xfrm>
        </p:spPr>
        <p:txBody>
          <a:bodyPr anchor="b">
            <a:normAutofit/>
          </a:bodyPr>
          <a:lstStyle/>
          <a:p>
            <a:r>
              <a:rPr lang="en-US" sz="4800"/>
              <a:t>Plan for Gloucestershire</a:t>
            </a:r>
          </a:p>
        </p:txBody>
      </p:sp>
      <p:sp>
        <p:nvSpPr>
          <p:cNvPr id="1048" name="Rectangle 1047">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0" name="Rectangle 1049">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D4FD5470-BD97-7F6B-CB7E-8EC0862FDC0B}"/>
              </a:ext>
            </a:extLst>
          </p:cNvPr>
          <p:cNvSpPr>
            <a:spLocks noGrp="1"/>
          </p:cNvSpPr>
          <p:nvPr>
            <p:ph idx="1"/>
          </p:nvPr>
        </p:nvSpPr>
        <p:spPr>
          <a:xfrm>
            <a:off x="793661" y="2599509"/>
            <a:ext cx="4530898" cy="3639450"/>
          </a:xfrm>
        </p:spPr>
        <p:txBody>
          <a:bodyPr anchor="ctr">
            <a:normAutofit/>
          </a:bodyPr>
          <a:lstStyle/>
          <a:p>
            <a:r>
              <a:rPr lang="en-US" sz="2000" dirty="0"/>
              <a:t>Develop a network of asthma friendly schools across primary and secondary </a:t>
            </a:r>
          </a:p>
          <a:p>
            <a:r>
              <a:rPr lang="en-US" sz="2000" dirty="0"/>
              <a:t>Pilot in 2 or 3 primary and 1 or 2 secondary (volunteers needed!) </a:t>
            </a:r>
          </a:p>
          <a:p>
            <a:r>
              <a:rPr lang="en-US" sz="2000" dirty="0"/>
              <a:t>Improve care of children and young people with asthma</a:t>
            </a:r>
          </a:p>
        </p:txBody>
      </p:sp>
      <p:pic>
        <p:nvPicPr>
          <p:cNvPr id="1026" name="Picture 2" descr="We Need You&quot; Images – Browse 2,109 Stock Photos, Vectors, and Video | Adobe  Stock">
            <a:extLst>
              <a:ext uri="{FF2B5EF4-FFF2-40B4-BE49-F238E27FC236}">
                <a16:creationId xmlns:a16="http://schemas.microsoft.com/office/drawing/2014/main" id="{DA122CF0-1FBD-22F1-FACD-FE98B9FCA0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992" r="11360" b="-1"/>
          <a:stretch/>
        </p:blipFill>
        <p:spPr bwMode="auto">
          <a:xfrm>
            <a:off x="6570890" y="2484255"/>
            <a:ext cx="3831561" cy="3714244"/>
          </a:xfrm>
          <a:prstGeom prst="rect">
            <a:avLst/>
          </a:prstGeom>
          <a:noFill/>
          <a:extLst>
            <a:ext uri="{909E8E84-426E-40DD-AFC4-6F175D3DCCD1}">
              <a14:hiddenFill xmlns:a14="http://schemas.microsoft.com/office/drawing/2010/main">
                <a:solidFill>
                  <a:srgbClr val="FFFFFF"/>
                </a:solidFill>
              </a14:hiddenFill>
            </a:ext>
          </a:extLst>
        </p:spPr>
      </p:pic>
      <p:sp>
        <p:nvSpPr>
          <p:cNvPr id="1052" name="Rectangle 1051">
            <a:extLst>
              <a:ext uri="{FF2B5EF4-FFF2-40B4-BE49-F238E27FC236}">
                <a16:creationId xmlns:a16="http://schemas.microsoft.com/office/drawing/2014/main" id="{E6995CE5-F890-4ABA-82A2-26507CE8D2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7534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4F28D5-2251-AD49-9F3F-05B52F037371}"/>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Thank you for your attention.</a:t>
            </a:r>
          </a:p>
        </p:txBody>
      </p:sp>
      <p:pic>
        <p:nvPicPr>
          <p:cNvPr id="4" name="Picture 2">
            <a:extLst>
              <a:ext uri="{FF2B5EF4-FFF2-40B4-BE49-F238E27FC236}">
                <a16:creationId xmlns:a16="http://schemas.microsoft.com/office/drawing/2014/main" id="{1CD85F77-6F7D-C44C-AA9B-50DCED8A4C72}"/>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10710" b="4384"/>
          <a:stretch/>
        </p:blipFill>
        <p:spPr bwMode="auto">
          <a:xfrm>
            <a:off x="2190062" y="1675227"/>
            <a:ext cx="7811875" cy="4394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6275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TotalTime>
  <Words>539</Words>
  <Application>Microsoft Macintosh PowerPoint</Application>
  <PresentationFormat>Widescreen</PresentationFormat>
  <Paragraphs>43</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Calibri Light</vt:lpstr>
      <vt:lpstr>Courier New</vt:lpstr>
      <vt:lpstr>Office Theme 2013 - 2022</vt:lpstr>
      <vt:lpstr>think-cell Slide</vt:lpstr>
      <vt:lpstr>Asthma friendly schools Gloucestershire</vt:lpstr>
      <vt:lpstr>Background and Context</vt:lpstr>
      <vt:lpstr>The background</vt:lpstr>
      <vt:lpstr>What is an asthma friendly school?</vt:lpstr>
      <vt:lpstr>Implementation of:</vt:lpstr>
      <vt:lpstr>Training</vt:lpstr>
      <vt:lpstr>Example checklist</vt:lpstr>
      <vt:lpstr>Plan for Gloucestershire</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thma friendly schools Gloucestershire</dc:title>
  <dc:creator>Carol Stonham</dc:creator>
  <cp:lastModifiedBy>Carol Stonham</cp:lastModifiedBy>
  <cp:revision>3</cp:revision>
  <dcterms:created xsi:type="dcterms:W3CDTF">2023-01-05T11:26:06Z</dcterms:created>
  <dcterms:modified xsi:type="dcterms:W3CDTF">2023-02-07T10:48:05Z</dcterms:modified>
</cp:coreProperties>
</file>